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32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33.xml" ContentType="application/vnd.openxmlformats-officedocument.presentationml.tags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34.xml" ContentType="application/vnd.openxmlformats-officedocument.presentationml.tags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tags/tag41.xml" ContentType="application/vnd.openxmlformats-officedocument.presentationml.tags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3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3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3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37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charts/chart38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charts/chart39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charts/chart40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charts/chart41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charts/chart42.xml" ContentType="application/vnd.openxmlformats-officedocument.drawingml.chart+xml"/>
  <Override PartName="/ppt/charts/style42.xml" ContentType="application/vnd.ms-office.chartstyle+xml"/>
  <Override PartName="/ppt/charts/colors4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66"/>
  </p:notesMasterIdLst>
  <p:sldIdLst>
    <p:sldId id="1428" r:id="rId2"/>
    <p:sldId id="1551" r:id="rId3"/>
    <p:sldId id="1552" r:id="rId4"/>
    <p:sldId id="1925" r:id="rId5"/>
    <p:sldId id="1922" r:id="rId6"/>
    <p:sldId id="1924" r:id="rId7"/>
    <p:sldId id="1961" r:id="rId8"/>
    <p:sldId id="1993" r:id="rId9"/>
    <p:sldId id="2029" r:id="rId10"/>
    <p:sldId id="2080" r:id="rId11"/>
    <p:sldId id="1945" r:id="rId12"/>
    <p:sldId id="1962" r:id="rId13"/>
    <p:sldId id="1994" r:id="rId14"/>
    <p:sldId id="1996" r:id="rId15"/>
    <p:sldId id="2030" r:id="rId16"/>
    <p:sldId id="2047" r:id="rId17"/>
    <p:sldId id="2082" r:id="rId18"/>
    <p:sldId id="2083" r:id="rId19"/>
    <p:sldId id="2084" r:id="rId20"/>
    <p:sldId id="2085" r:id="rId21"/>
    <p:sldId id="2086" r:id="rId22"/>
    <p:sldId id="2087" r:id="rId23"/>
    <p:sldId id="2088" r:id="rId24"/>
    <p:sldId id="2089" r:id="rId25"/>
    <p:sldId id="2090" r:id="rId26"/>
    <p:sldId id="2091" r:id="rId27"/>
    <p:sldId id="2092" r:id="rId28"/>
    <p:sldId id="2093" r:id="rId29"/>
    <p:sldId id="2094" r:id="rId30"/>
    <p:sldId id="2095" r:id="rId31"/>
    <p:sldId id="2096" r:id="rId32"/>
    <p:sldId id="1942" r:id="rId33"/>
    <p:sldId id="1474" r:id="rId34"/>
    <p:sldId id="1481" r:id="rId35"/>
    <p:sldId id="1482" r:id="rId36"/>
    <p:sldId id="1475" r:id="rId37"/>
    <p:sldId id="1483" r:id="rId38"/>
    <p:sldId id="1923" r:id="rId39"/>
    <p:sldId id="1476" r:id="rId40"/>
    <p:sldId id="1523" r:id="rId41"/>
    <p:sldId id="1524" r:id="rId42"/>
    <p:sldId id="1595" r:id="rId43"/>
    <p:sldId id="1639" r:id="rId44"/>
    <p:sldId id="1802" r:id="rId45"/>
    <p:sldId id="1829" r:id="rId46"/>
    <p:sldId id="1823" r:id="rId47"/>
    <p:sldId id="1845" r:id="rId48"/>
    <p:sldId id="1864" r:id="rId49"/>
    <p:sldId id="1866" r:id="rId50"/>
    <p:sldId id="1886" r:id="rId51"/>
    <p:sldId id="1528" r:id="rId52"/>
    <p:sldId id="1530" r:id="rId53"/>
    <p:sldId id="1571" r:id="rId54"/>
    <p:sldId id="1572" r:id="rId55"/>
    <p:sldId id="1596" r:id="rId56"/>
    <p:sldId id="1615" r:id="rId57"/>
    <p:sldId id="1617" r:id="rId58"/>
    <p:sldId id="1641" r:id="rId59"/>
    <p:sldId id="1784" r:id="rId60"/>
    <p:sldId id="1804" r:id="rId61"/>
    <p:sldId id="1888" r:id="rId62"/>
    <p:sldId id="1907" r:id="rId63"/>
    <p:sldId id="1592" r:id="rId64"/>
    <p:sldId id="1593" r:id="rId65"/>
  </p:sldIdLst>
  <p:sldSz cx="12192000" cy="6858000"/>
  <p:notesSz cx="6858000" cy="9144000"/>
  <p:custDataLst>
    <p:tags r:id="rId67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užík Jan RNDr. Ph.D." initials="MJRP" lastIdx="1" clrIdx="0">
    <p:extLst>
      <p:ext uri="{19B8F6BF-5375-455C-9EA6-DF929625EA0E}">
        <p15:presenceInfo xmlns:p15="http://schemas.microsoft.com/office/powerpoint/2012/main" userId="Mužík Jan RNDr. Ph.D.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D050"/>
    <a:srgbClr val="0000FF"/>
    <a:srgbClr val="FCE34E"/>
    <a:srgbClr val="FFFF00"/>
    <a:srgbClr val="E4F828"/>
    <a:srgbClr val="000000"/>
    <a:srgbClr val="00FF00"/>
    <a:srgbClr val="FF9966"/>
    <a:srgbClr val="FF9933"/>
    <a:srgbClr val="00B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Světlý styl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Světlý styl 1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661" autoAdjust="0"/>
    <p:restoredTop sz="96400" autoAdjust="0"/>
  </p:normalViewPr>
  <p:slideViewPr>
    <p:cSldViewPr snapToGrid="0">
      <p:cViewPr>
        <p:scale>
          <a:sx n="100" d="100"/>
          <a:sy n="100" d="100"/>
        </p:scale>
        <p:origin x="1158" y="342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commentAuthors" Target="commentAuthors.xml"/><Relationship Id="rId7" Type="http://schemas.openxmlformats.org/officeDocument/2006/relationships/slide" Target="slides/slide6.xml"/><Relationship Id="rId71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tags" Target="tags/tag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3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4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5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6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7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8.xlsx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9.xlsx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0.xlsx"/><Relationship Id="rId2" Type="http://schemas.microsoft.com/office/2011/relationships/chartColorStyle" Target="colors41.xml"/><Relationship Id="rId1" Type="http://schemas.microsoft.com/office/2011/relationships/chartStyle" Target="style41.xml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1.xlsx"/><Relationship Id="rId2" Type="http://schemas.microsoft.com/office/2011/relationships/chartColorStyle" Target="colors42.xml"/><Relationship Id="rId1" Type="http://schemas.microsoft.com/office/2011/relationships/chartStyle" Target="style42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200259161526445E-2"/>
          <c:y val="4.7634439213742094E-2"/>
          <c:w val="0.94059218467024752"/>
          <c:h val="0.7457723787496162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36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CU$1</c:f>
              <c:strCache>
                <c:ptCount val="98"/>
                <c:pt idx="0">
                  <c:v>27.4.–3.5.</c:v>
                </c:pt>
                <c:pt idx="1">
                  <c:v>4.5.–10.5.</c:v>
                </c:pt>
                <c:pt idx="2">
                  <c:v>11.5.–17.5.</c:v>
                </c:pt>
                <c:pt idx="3">
                  <c:v>18.5.–24.5.</c:v>
                </c:pt>
                <c:pt idx="4">
                  <c:v>25.5.–31.5.</c:v>
                </c:pt>
                <c:pt idx="5">
                  <c:v>1.6.–7.6.</c:v>
                </c:pt>
                <c:pt idx="6">
                  <c:v>8.6.–14.6.</c:v>
                </c:pt>
                <c:pt idx="7">
                  <c:v>15.6.–21.6.</c:v>
                </c:pt>
                <c:pt idx="8">
                  <c:v>22.6.–28.6.</c:v>
                </c:pt>
                <c:pt idx="9">
                  <c:v>29.6.–5.7.</c:v>
                </c:pt>
                <c:pt idx="10">
                  <c:v>6.7.–12.7.</c:v>
                </c:pt>
                <c:pt idx="11">
                  <c:v>13.7.–19.7.</c:v>
                </c:pt>
                <c:pt idx="12">
                  <c:v>20.7.–26.7.</c:v>
                </c:pt>
                <c:pt idx="13">
                  <c:v>27.7.–2.8.</c:v>
                </c:pt>
                <c:pt idx="14">
                  <c:v>3.8.–9.8.</c:v>
                </c:pt>
                <c:pt idx="15">
                  <c:v>10.8.–16.8.</c:v>
                </c:pt>
                <c:pt idx="16">
                  <c:v>17.8.–23.8.</c:v>
                </c:pt>
                <c:pt idx="17">
                  <c:v>24.8.–30.8.</c:v>
                </c:pt>
                <c:pt idx="18">
                  <c:v>31.8.–6.9.</c:v>
                </c:pt>
                <c:pt idx="19">
                  <c:v>7.9.–13.9.</c:v>
                </c:pt>
                <c:pt idx="20">
                  <c:v>14.9.–20.9.</c:v>
                </c:pt>
                <c:pt idx="21">
                  <c:v>21.9.–27.9.</c:v>
                </c:pt>
                <c:pt idx="22">
                  <c:v>28.9.–4.10.</c:v>
                </c:pt>
                <c:pt idx="23">
                  <c:v>5.10.–11.10.</c:v>
                </c:pt>
                <c:pt idx="24">
                  <c:v>12.10.–18.10.</c:v>
                </c:pt>
                <c:pt idx="25">
                  <c:v>19.10.–25.10.</c:v>
                </c:pt>
                <c:pt idx="26">
                  <c:v>26.10.–1.11.</c:v>
                </c:pt>
                <c:pt idx="27">
                  <c:v>2.11.–8.11.</c:v>
                </c:pt>
                <c:pt idx="28">
                  <c:v>9.11.–15.11.</c:v>
                </c:pt>
                <c:pt idx="29">
                  <c:v>16.11.–22.11.</c:v>
                </c:pt>
                <c:pt idx="30">
                  <c:v>23.11.–29.11.</c:v>
                </c:pt>
                <c:pt idx="31">
                  <c:v>30.11.–6.12.</c:v>
                </c:pt>
                <c:pt idx="32">
                  <c:v>7.12.–13.12.</c:v>
                </c:pt>
                <c:pt idx="33">
                  <c:v>14.12.–20.12.</c:v>
                </c:pt>
                <c:pt idx="34">
                  <c:v>21.12.–27.12.</c:v>
                </c:pt>
                <c:pt idx="35">
                  <c:v>28.12.–3.1.</c:v>
                </c:pt>
                <c:pt idx="36">
                  <c:v>4.1.–10.1.</c:v>
                </c:pt>
                <c:pt idx="37">
                  <c:v>11.1.–17.1.</c:v>
                </c:pt>
                <c:pt idx="38">
                  <c:v>18.1.–24.1.</c:v>
                </c:pt>
                <c:pt idx="39">
                  <c:v>25.1.–31.1.</c:v>
                </c:pt>
                <c:pt idx="40">
                  <c:v>1.2.–7.2.</c:v>
                </c:pt>
                <c:pt idx="41">
                  <c:v>8.2.–14.2.</c:v>
                </c:pt>
                <c:pt idx="42">
                  <c:v>15.2.–21.2.</c:v>
                </c:pt>
                <c:pt idx="43">
                  <c:v>22.2.–28.2.</c:v>
                </c:pt>
                <c:pt idx="44">
                  <c:v>1.3.–7.3.</c:v>
                </c:pt>
                <c:pt idx="45">
                  <c:v>8.3.–14.3.</c:v>
                </c:pt>
                <c:pt idx="46">
                  <c:v>15.3.–21.3.</c:v>
                </c:pt>
                <c:pt idx="47">
                  <c:v>22.3.–28.3.</c:v>
                </c:pt>
                <c:pt idx="48">
                  <c:v>29.3.–4.4.</c:v>
                </c:pt>
                <c:pt idx="49">
                  <c:v>5.4.–11.4.</c:v>
                </c:pt>
                <c:pt idx="50">
                  <c:v>12.4.–18.4.</c:v>
                </c:pt>
                <c:pt idx="51">
                  <c:v>19.4.–25.4.</c:v>
                </c:pt>
                <c:pt idx="52">
                  <c:v>26.4.–2.5.</c:v>
                </c:pt>
                <c:pt idx="53">
                  <c:v>3.5.–9.5.</c:v>
                </c:pt>
                <c:pt idx="54">
                  <c:v>10.5.–16.5.</c:v>
                </c:pt>
                <c:pt idx="55">
                  <c:v>17.5.–23.5.</c:v>
                </c:pt>
                <c:pt idx="56">
                  <c:v>24.5.–30.5.</c:v>
                </c:pt>
                <c:pt idx="57">
                  <c:v>31.5.–6.6.</c:v>
                </c:pt>
                <c:pt idx="58">
                  <c:v>7.6.–13.6.</c:v>
                </c:pt>
                <c:pt idx="59">
                  <c:v>14.6.–20.6.</c:v>
                </c:pt>
                <c:pt idx="60">
                  <c:v>21.6.–27.6.</c:v>
                </c:pt>
                <c:pt idx="61">
                  <c:v>28.6.–4.7.</c:v>
                </c:pt>
                <c:pt idx="62">
                  <c:v>5.7.–11.7.</c:v>
                </c:pt>
                <c:pt idx="63">
                  <c:v>12.7.–18.7.</c:v>
                </c:pt>
                <c:pt idx="64">
                  <c:v>19.7.–25.7.</c:v>
                </c:pt>
                <c:pt idx="65">
                  <c:v>26.7.–1.8.</c:v>
                </c:pt>
                <c:pt idx="66">
                  <c:v>2.8.–8.8.</c:v>
                </c:pt>
                <c:pt idx="67">
                  <c:v>9.8.–15.8.</c:v>
                </c:pt>
                <c:pt idx="68">
                  <c:v>16.8.–22.8.</c:v>
                </c:pt>
                <c:pt idx="69">
                  <c:v>23.8.–29.8.</c:v>
                </c:pt>
                <c:pt idx="70">
                  <c:v>30.8.–5.9.</c:v>
                </c:pt>
                <c:pt idx="71">
                  <c:v>6.9.–12.9.</c:v>
                </c:pt>
                <c:pt idx="72">
                  <c:v>13.9.–19.9.</c:v>
                </c:pt>
                <c:pt idx="73">
                  <c:v>20.9.–26.9.</c:v>
                </c:pt>
                <c:pt idx="74">
                  <c:v>27.9.–3.10.</c:v>
                </c:pt>
                <c:pt idx="75">
                  <c:v>4.10.–10.10.</c:v>
                </c:pt>
                <c:pt idx="76">
                  <c:v>11.10.–17.10.</c:v>
                </c:pt>
                <c:pt idx="77">
                  <c:v>18.10.–24.10.</c:v>
                </c:pt>
                <c:pt idx="78">
                  <c:v>25.10.–31.10.</c:v>
                </c:pt>
                <c:pt idx="79">
                  <c:v>1.11.–7.11.</c:v>
                </c:pt>
                <c:pt idx="80">
                  <c:v>8.11.–14.11.</c:v>
                </c:pt>
                <c:pt idx="81">
                  <c:v>15.11.–21.11.</c:v>
                </c:pt>
                <c:pt idx="82">
                  <c:v>22.11.–28.11.</c:v>
                </c:pt>
                <c:pt idx="83">
                  <c:v>29.11.–5.12.</c:v>
                </c:pt>
                <c:pt idx="84">
                  <c:v>6.12.–12.12.</c:v>
                </c:pt>
                <c:pt idx="85">
                  <c:v>13.12.–19.12.</c:v>
                </c:pt>
                <c:pt idx="86">
                  <c:v>20.12.–26.12.</c:v>
                </c:pt>
                <c:pt idx="87">
                  <c:v>27.12.–2.1.</c:v>
                </c:pt>
                <c:pt idx="88">
                  <c:v>3.1.–9.1.</c:v>
                </c:pt>
                <c:pt idx="89">
                  <c:v>10.1.–16.1.</c:v>
                </c:pt>
                <c:pt idx="90">
                  <c:v>17.1.–23.1.</c:v>
                </c:pt>
                <c:pt idx="91">
                  <c:v>24.1.–30.1.</c:v>
                </c:pt>
                <c:pt idx="92">
                  <c:v>31.1.–6.2.</c:v>
                </c:pt>
                <c:pt idx="93">
                  <c:v>7.2.–13.2.</c:v>
                </c:pt>
                <c:pt idx="94">
                  <c:v>14.2.–20.2.</c:v>
                </c:pt>
                <c:pt idx="95">
                  <c:v>21.2.–27.2.</c:v>
                </c:pt>
                <c:pt idx="96">
                  <c:v>28.2.–6.3.</c:v>
                </c:pt>
                <c:pt idx="97">
                  <c:v>7.3.–13.3.</c:v>
                </c:pt>
              </c:strCache>
            </c:strRef>
          </c:cat>
          <c:val>
            <c:numRef>
              <c:f>List1!$B$2:$CU$2</c:f>
              <c:numCache>
                <c:formatCode>General</c:formatCode>
                <c:ptCount val="98"/>
                <c:pt idx="0">
                  <c:v>0</c:v>
                </c:pt>
                <c:pt idx="1">
                  <c:v>0</c:v>
                </c:pt>
                <c:pt idx="2">
                  <c:v>90</c:v>
                </c:pt>
                <c:pt idx="3">
                  <c:v>20</c:v>
                </c:pt>
                <c:pt idx="4">
                  <c:v>0</c:v>
                </c:pt>
                <c:pt idx="5">
                  <c:v>35</c:v>
                </c:pt>
                <c:pt idx="6">
                  <c:v>0</c:v>
                </c:pt>
                <c:pt idx="7">
                  <c:v>45</c:v>
                </c:pt>
                <c:pt idx="8">
                  <c:v>2</c:v>
                </c:pt>
                <c:pt idx="9">
                  <c:v>2</c:v>
                </c:pt>
                <c:pt idx="10">
                  <c:v>1</c:v>
                </c:pt>
                <c:pt idx="11">
                  <c:v>0</c:v>
                </c:pt>
                <c:pt idx="12">
                  <c:v>110</c:v>
                </c:pt>
                <c:pt idx="13">
                  <c:v>1</c:v>
                </c:pt>
                <c:pt idx="14">
                  <c:v>86</c:v>
                </c:pt>
                <c:pt idx="15">
                  <c:v>40</c:v>
                </c:pt>
                <c:pt idx="16">
                  <c:v>44</c:v>
                </c:pt>
                <c:pt idx="17">
                  <c:v>1</c:v>
                </c:pt>
                <c:pt idx="18">
                  <c:v>196</c:v>
                </c:pt>
                <c:pt idx="19">
                  <c:v>138</c:v>
                </c:pt>
                <c:pt idx="20">
                  <c:v>100</c:v>
                </c:pt>
                <c:pt idx="21">
                  <c:v>627</c:v>
                </c:pt>
                <c:pt idx="22">
                  <c:v>290</c:v>
                </c:pt>
                <c:pt idx="23">
                  <c:v>1325</c:v>
                </c:pt>
                <c:pt idx="24">
                  <c:v>3258</c:v>
                </c:pt>
                <c:pt idx="25">
                  <c:v>2610</c:v>
                </c:pt>
                <c:pt idx="26">
                  <c:v>2702</c:v>
                </c:pt>
                <c:pt idx="27">
                  <c:v>2109</c:v>
                </c:pt>
                <c:pt idx="28">
                  <c:v>3034</c:v>
                </c:pt>
                <c:pt idx="29">
                  <c:v>2017</c:v>
                </c:pt>
                <c:pt idx="30">
                  <c:v>788</c:v>
                </c:pt>
                <c:pt idx="31">
                  <c:v>772</c:v>
                </c:pt>
                <c:pt idx="32">
                  <c:v>1444</c:v>
                </c:pt>
                <c:pt idx="33">
                  <c:v>992</c:v>
                </c:pt>
                <c:pt idx="34">
                  <c:v>582</c:v>
                </c:pt>
                <c:pt idx="35">
                  <c:v>943</c:v>
                </c:pt>
                <c:pt idx="36">
                  <c:v>1069</c:v>
                </c:pt>
                <c:pt idx="37">
                  <c:v>910</c:v>
                </c:pt>
                <c:pt idx="38">
                  <c:v>885</c:v>
                </c:pt>
                <c:pt idx="39">
                  <c:v>409</c:v>
                </c:pt>
                <c:pt idx="40">
                  <c:v>650</c:v>
                </c:pt>
                <c:pt idx="41">
                  <c:v>590</c:v>
                </c:pt>
                <c:pt idx="42">
                  <c:v>204</c:v>
                </c:pt>
                <c:pt idx="43">
                  <c:v>356</c:v>
                </c:pt>
                <c:pt idx="44">
                  <c:v>143</c:v>
                </c:pt>
                <c:pt idx="45">
                  <c:v>223</c:v>
                </c:pt>
                <c:pt idx="46">
                  <c:v>295</c:v>
                </c:pt>
                <c:pt idx="47">
                  <c:v>192</c:v>
                </c:pt>
                <c:pt idx="48">
                  <c:v>115</c:v>
                </c:pt>
                <c:pt idx="49">
                  <c:v>72</c:v>
                </c:pt>
                <c:pt idx="50">
                  <c:v>32</c:v>
                </c:pt>
                <c:pt idx="51">
                  <c:v>16</c:v>
                </c:pt>
                <c:pt idx="52">
                  <c:v>15</c:v>
                </c:pt>
                <c:pt idx="53">
                  <c:v>0</c:v>
                </c:pt>
                <c:pt idx="54">
                  <c:v>14</c:v>
                </c:pt>
                <c:pt idx="55">
                  <c:v>9</c:v>
                </c:pt>
                <c:pt idx="56">
                  <c:v>0</c:v>
                </c:pt>
                <c:pt idx="57">
                  <c:v>3</c:v>
                </c:pt>
                <c:pt idx="58">
                  <c:v>4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3</c:v>
                </c:pt>
                <c:pt idx="64">
                  <c:v>5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10</c:v>
                </c:pt>
                <c:pt idx="69">
                  <c:v>0</c:v>
                </c:pt>
                <c:pt idx="70">
                  <c:v>28</c:v>
                </c:pt>
                <c:pt idx="71">
                  <c:v>0</c:v>
                </c:pt>
                <c:pt idx="72">
                  <c:v>6</c:v>
                </c:pt>
                <c:pt idx="73">
                  <c:v>14</c:v>
                </c:pt>
                <c:pt idx="74">
                  <c:v>46</c:v>
                </c:pt>
                <c:pt idx="75">
                  <c:v>30</c:v>
                </c:pt>
                <c:pt idx="76">
                  <c:v>58</c:v>
                </c:pt>
                <c:pt idx="77">
                  <c:v>28</c:v>
                </c:pt>
                <c:pt idx="78">
                  <c:v>65</c:v>
                </c:pt>
                <c:pt idx="79">
                  <c:v>313</c:v>
                </c:pt>
                <c:pt idx="80">
                  <c:v>90</c:v>
                </c:pt>
                <c:pt idx="81">
                  <c:v>107</c:v>
                </c:pt>
                <c:pt idx="82">
                  <c:v>119</c:v>
                </c:pt>
                <c:pt idx="83">
                  <c:v>105</c:v>
                </c:pt>
                <c:pt idx="84">
                  <c:v>173</c:v>
                </c:pt>
                <c:pt idx="85">
                  <c:v>106</c:v>
                </c:pt>
                <c:pt idx="86">
                  <c:v>70</c:v>
                </c:pt>
                <c:pt idx="87">
                  <c:v>154</c:v>
                </c:pt>
                <c:pt idx="88">
                  <c:v>46</c:v>
                </c:pt>
                <c:pt idx="89">
                  <c:v>28</c:v>
                </c:pt>
                <c:pt idx="90">
                  <c:v>252</c:v>
                </c:pt>
                <c:pt idx="91">
                  <c:v>306</c:v>
                </c:pt>
                <c:pt idx="92">
                  <c:v>484</c:v>
                </c:pt>
                <c:pt idx="93">
                  <c:v>804</c:v>
                </c:pt>
                <c:pt idx="94">
                  <c:v>333</c:v>
                </c:pt>
                <c:pt idx="95">
                  <c:v>272</c:v>
                </c:pt>
                <c:pt idx="96">
                  <c:v>103</c:v>
                </c:pt>
                <c:pt idx="97">
                  <c:v>1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C7D-4055-8756-BCAC7661DC4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C7D-4055-8756-BCAC7661DC44}"/>
              </c:ext>
            </c:extLst>
          </c:dPt>
          <c:dLbls>
            <c:dLbl>
              <c:idx val="0"/>
              <c:layout>
                <c:manualLayout>
                  <c:x val="-0.19551252206363898"/>
                  <c:y val="-4.639816307613770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EC7D-4055-8756-BCAC7661DC44}"/>
                </c:ext>
              </c:extLst>
            </c:dLbl>
            <c:dLbl>
              <c:idx val="1"/>
              <c:layout>
                <c:manualLayout>
                  <c:x val="0.19018843929624771"/>
                  <c:y val="9.517620917852170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>
                          <a:lumMod val="9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EC7D-4055-8756-BCAC7661DC4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59875974064600557</c:v>
                </c:pt>
                <c:pt idx="1">
                  <c:v>0.401240259353994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C7D-4055-8756-BCAC7661DC44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Celke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D$1</c:f>
              <c:strCache>
                <c:ptCount val="1"/>
                <c:pt idx="0">
                  <c:v>Sloupec3</c:v>
                </c:pt>
              </c:strCache>
            </c:strRef>
          </c:tx>
          <c:explosion val="3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E22-41E2-BAC0-9FFA33A4232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E22-41E2-BAC0-9FFA33A42325}"/>
              </c:ext>
            </c:extLst>
          </c:dPt>
          <c:dLbls>
            <c:dLbl>
              <c:idx val="0"/>
              <c:layout>
                <c:manualLayout>
                  <c:x val="-0.1764062209815882"/>
                  <c:y val="-8.3712271687082243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2631503403883819"/>
                      <c:h val="0.1733719757170023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E22-41E2-BAC0-9FFA33A42325}"/>
                </c:ext>
              </c:extLst>
            </c:dLbl>
            <c:dLbl>
              <c:idx val="1"/>
              <c:layout>
                <c:manualLayout>
                  <c:x val="0.13720483854123527"/>
                  <c:y val="0.13168807423778905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6751296037830877"/>
                      <c:h val="0.1733719757170023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E22-41E2-BAC0-9FFA33A423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D$2:$D$3</c:f>
              <c:numCache>
                <c:formatCode>0.0%</c:formatCode>
                <c:ptCount val="2"/>
                <c:pt idx="0">
                  <c:v>0.66166961020178283</c:v>
                </c:pt>
                <c:pt idx="1">
                  <c:v>0.338330389798217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E22-41E2-BAC0-9FFA33A4232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acovníc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C$1</c:f>
              <c:strCache>
                <c:ptCount val="1"/>
                <c:pt idx="0">
                  <c:v>Sloupec2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6A8-4DEA-901C-9B274B60512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6A8-4DEA-901C-9B274B605125}"/>
              </c:ext>
            </c:extLst>
          </c:dPt>
          <c:dLbls>
            <c:dLbl>
              <c:idx val="0"/>
              <c:layout>
                <c:manualLayout>
                  <c:x val="9.9717101834593827E-2"/>
                  <c:y val="-0.15614080352677731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3510648422761702"/>
                      <c:h val="0.1763770899627637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6A8-4DEA-901C-9B274B605125}"/>
                </c:ext>
              </c:extLst>
            </c:dLbl>
            <c:dLbl>
              <c:idx val="1"/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7894669692341171"/>
                      <c:h val="9.535458664435128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6A8-4DEA-901C-9B274B6051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C$2:$C$3</c:f>
              <c:numCache>
                <c:formatCode>0.0%</c:formatCode>
                <c:ptCount val="2"/>
                <c:pt idx="0">
                  <c:v>0.99912349494856301</c:v>
                </c:pt>
                <c:pt idx="1">
                  <c:v>8.7650505143700697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6A8-4DEA-901C-9B274B60512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rgbClr val="D31145"/>
            </a:solidFill>
          </c:spPr>
          <c:dPt>
            <c:idx val="0"/>
            <c:bubble3D val="0"/>
            <c:spPr>
              <a:solidFill>
                <a:srgbClr val="D3114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F92-4D3D-8334-193589D5135D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F92-4D3D-8334-193589D5135D}"/>
              </c:ext>
            </c:extLst>
          </c:dPt>
          <c:dLbls>
            <c:dLbl>
              <c:idx val="0"/>
              <c:layout>
                <c:manualLayout>
                  <c:x val="-0.32618392207200703"/>
                  <c:y val="-0.2544446438943123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FF92-4D3D-8334-193589D5135D}"/>
                </c:ext>
              </c:extLst>
            </c:dLbl>
            <c:dLbl>
              <c:idx val="1"/>
              <c:layout>
                <c:manualLayout>
                  <c:x val="2.6849345794777161E-2"/>
                  <c:y val="4.3164616463420992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FF92-4D3D-8334-193589D513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86761054075089872</c:v>
                </c:pt>
                <c:pt idx="1">
                  <c:v>0.132389459249101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F92-4D3D-8334-193589D5135D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Celke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D$1</c:f>
              <c:strCache>
                <c:ptCount val="1"/>
                <c:pt idx="0">
                  <c:v>Sloupec3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C89-4EC5-9106-44D5B8B3D789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C89-4EC5-9106-44D5B8B3D789}"/>
              </c:ext>
            </c:extLst>
          </c:dPt>
          <c:dLbls>
            <c:dLbl>
              <c:idx val="0"/>
              <c:layout>
                <c:manualLayout>
                  <c:x val="-0.11796735173054548"/>
                  <c:y val="-0.1503617376695439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7430786666796995"/>
                      <c:h val="0.1763770899627637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9C89-4EC5-9106-44D5B8B3D789}"/>
                </c:ext>
              </c:extLst>
            </c:dLbl>
            <c:dLbl>
              <c:idx val="1"/>
              <c:layout>
                <c:manualLayout>
                  <c:x val="4.5361967148006825E-2"/>
                  <c:y val="8.4621905753901897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775961527084196"/>
                      <c:h val="0.1763770899627637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9C89-4EC5-9106-44D5B8B3D78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D$2:$D$3</c:f>
              <c:numCache>
                <c:formatCode>0.0%</c:formatCode>
                <c:ptCount val="2"/>
                <c:pt idx="0">
                  <c:v>0.92619918615643881</c:v>
                </c:pt>
                <c:pt idx="1">
                  <c:v>7.380081384356118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89-4EC5-9106-44D5B8B3D789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umulativní počet pozitivních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>
        <c:manualLayout>
          <c:layoutTarget val="inner"/>
          <c:xMode val="edge"/>
          <c:yMode val="edge"/>
          <c:x val="0.11678566292919781"/>
          <c:y val="9.8724301501472447E-2"/>
          <c:w val="0.86222309884669401"/>
          <c:h val="0.66944541343353126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Klienti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558</c:f>
              <c:numCache>
                <c:formatCode>m/d/yyyy</c:formatCode>
                <c:ptCount val="55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</c:numCache>
            </c:numRef>
          </c:cat>
          <c:val>
            <c:numRef>
              <c:f>List1!$B$2:$B$558</c:f>
              <c:numCache>
                <c:formatCode>General</c:formatCode>
                <c:ptCount val="557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8</c:v>
                </c:pt>
                <c:pt idx="10">
                  <c:v>8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4</c:v>
                </c:pt>
                <c:pt idx="15">
                  <c:v>14</c:v>
                </c:pt>
                <c:pt idx="16">
                  <c:v>14</c:v>
                </c:pt>
                <c:pt idx="17">
                  <c:v>16</c:v>
                </c:pt>
                <c:pt idx="18">
                  <c:v>17</c:v>
                </c:pt>
                <c:pt idx="19">
                  <c:v>21</c:v>
                </c:pt>
                <c:pt idx="20">
                  <c:v>22</c:v>
                </c:pt>
                <c:pt idx="21">
                  <c:v>23</c:v>
                </c:pt>
                <c:pt idx="22">
                  <c:v>24</c:v>
                </c:pt>
                <c:pt idx="23">
                  <c:v>27</c:v>
                </c:pt>
                <c:pt idx="24">
                  <c:v>28</c:v>
                </c:pt>
                <c:pt idx="25">
                  <c:v>33</c:v>
                </c:pt>
                <c:pt idx="26">
                  <c:v>38</c:v>
                </c:pt>
                <c:pt idx="27">
                  <c:v>41</c:v>
                </c:pt>
                <c:pt idx="28">
                  <c:v>46</c:v>
                </c:pt>
                <c:pt idx="29">
                  <c:v>74</c:v>
                </c:pt>
                <c:pt idx="30">
                  <c:v>105</c:v>
                </c:pt>
                <c:pt idx="31">
                  <c:v>167</c:v>
                </c:pt>
                <c:pt idx="32">
                  <c:v>203</c:v>
                </c:pt>
                <c:pt idx="33">
                  <c:v>257</c:v>
                </c:pt>
                <c:pt idx="34">
                  <c:v>424</c:v>
                </c:pt>
                <c:pt idx="35">
                  <c:v>506</c:v>
                </c:pt>
                <c:pt idx="36">
                  <c:v>551</c:v>
                </c:pt>
                <c:pt idx="37">
                  <c:v>630</c:v>
                </c:pt>
                <c:pt idx="38">
                  <c:v>769</c:v>
                </c:pt>
                <c:pt idx="39">
                  <c:v>799</c:v>
                </c:pt>
                <c:pt idx="40">
                  <c:v>812</c:v>
                </c:pt>
                <c:pt idx="41">
                  <c:v>951</c:v>
                </c:pt>
                <c:pt idx="42">
                  <c:v>1176</c:v>
                </c:pt>
                <c:pt idx="43">
                  <c:v>1358</c:v>
                </c:pt>
                <c:pt idx="44">
                  <c:v>1561</c:v>
                </c:pt>
                <c:pt idx="45">
                  <c:v>1767</c:v>
                </c:pt>
                <c:pt idx="46">
                  <c:v>1925</c:v>
                </c:pt>
                <c:pt idx="47">
                  <c:v>1966</c:v>
                </c:pt>
                <c:pt idx="48">
                  <c:v>2212</c:v>
                </c:pt>
                <c:pt idx="49">
                  <c:v>2415</c:v>
                </c:pt>
                <c:pt idx="50">
                  <c:v>2742</c:v>
                </c:pt>
                <c:pt idx="51">
                  <c:v>2980</c:v>
                </c:pt>
                <c:pt idx="52">
                  <c:v>3404</c:v>
                </c:pt>
                <c:pt idx="53">
                  <c:v>3633</c:v>
                </c:pt>
                <c:pt idx="54">
                  <c:v>3831</c:v>
                </c:pt>
                <c:pt idx="55">
                  <c:v>4222</c:v>
                </c:pt>
                <c:pt idx="56">
                  <c:v>4758</c:v>
                </c:pt>
                <c:pt idx="57">
                  <c:v>5024</c:v>
                </c:pt>
                <c:pt idx="58">
                  <c:v>5571</c:v>
                </c:pt>
                <c:pt idx="59">
                  <c:v>6160</c:v>
                </c:pt>
                <c:pt idx="60">
                  <c:v>6499</c:v>
                </c:pt>
                <c:pt idx="61">
                  <c:v>6715</c:v>
                </c:pt>
                <c:pt idx="62">
                  <c:v>7052</c:v>
                </c:pt>
                <c:pt idx="63">
                  <c:v>7401</c:v>
                </c:pt>
                <c:pt idx="64">
                  <c:v>7828</c:v>
                </c:pt>
                <c:pt idx="65">
                  <c:v>8369</c:v>
                </c:pt>
                <c:pt idx="66">
                  <c:v>8868</c:v>
                </c:pt>
                <c:pt idx="67">
                  <c:v>9084</c:v>
                </c:pt>
                <c:pt idx="68">
                  <c:v>9165</c:v>
                </c:pt>
                <c:pt idx="69">
                  <c:v>9373</c:v>
                </c:pt>
                <c:pt idx="70">
                  <c:v>9760</c:v>
                </c:pt>
                <c:pt idx="71">
                  <c:v>10442</c:v>
                </c:pt>
                <c:pt idx="72">
                  <c:v>10948</c:v>
                </c:pt>
                <c:pt idx="73">
                  <c:v>11434</c:v>
                </c:pt>
                <c:pt idx="74">
                  <c:v>11620</c:v>
                </c:pt>
                <c:pt idx="75">
                  <c:v>11790</c:v>
                </c:pt>
                <c:pt idx="76">
                  <c:v>12181</c:v>
                </c:pt>
                <c:pt idx="77">
                  <c:v>12320</c:v>
                </c:pt>
                <c:pt idx="78">
                  <c:v>12593</c:v>
                </c:pt>
                <c:pt idx="79">
                  <c:v>12868</c:v>
                </c:pt>
                <c:pt idx="80">
                  <c:v>13112</c:v>
                </c:pt>
                <c:pt idx="81">
                  <c:v>13207</c:v>
                </c:pt>
                <c:pt idx="82">
                  <c:v>13300</c:v>
                </c:pt>
                <c:pt idx="83">
                  <c:v>13685</c:v>
                </c:pt>
                <c:pt idx="84">
                  <c:v>13886</c:v>
                </c:pt>
                <c:pt idx="85">
                  <c:v>14017</c:v>
                </c:pt>
                <c:pt idx="86">
                  <c:v>14216</c:v>
                </c:pt>
                <c:pt idx="87">
                  <c:v>14356</c:v>
                </c:pt>
                <c:pt idx="88">
                  <c:v>14434</c:v>
                </c:pt>
                <c:pt idx="89">
                  <c:v>14463</c:v>
                </c:pt>
                <c:pt idx="90">
                  <c:v>14676</c:v>
                </c:pt>
                <c:pt idx="91">
                  <c:v>14800</c:v>
                </c:pt>
                <c:pt idx="92">
                  <c:v>14936</c:v>
                </c:pt>
                <c:pt idx="93">
                  <c:v>15067</c:v>
                </c:pt>
                <c:pt idx="94">
                  <c:v>15216</c:v>
                </c:pt>
                <c:pt idx="95">
                  <c:v>15305</c:v>
                </c:pt>
                <c:pt idx="96">
                  <c:v>15328</c:v>
                </c:pt>
                <c:pt idx="97">
                  <c:v>15472</c:v>
                </c:pt>
                <c:pt idx="98">
                  <c:v>15563</c:v>
                </c:pt>
                <c:pt idx="99">
                  <c:v>15705</c:v>
                </c:pt>
                <c:pt idx="100">
                  <c:v>15790</c:v>
                </c:pt>
                <c:pt idx="101">
                  <c:v>16030</c:v>
                </c:pt>
                <c:pt idx="102">
                  <c:v>16097</c:v>
                </c:pt>
                <c:pt idx="103">
                  <c:v>16147</c:v>
                </c:pt>
                <c:pt idx="104">
                  <c:v>16297</c:v>
                </c:pt>
                <c:pt idx="105">
                  <c:v>16431</c:v>
                </c:pt>
                <c:pt idx="106">
                  <c:v>16531</c:v>
                </c:pt>
                <c:pt idx="107">
                  <c:v>16601</c:v>
                </c:pt>
                <c:pt idx="108">
                  <c:v>16824</c:v>
                </c:pt>
                <c:pt idx="109">
                  <c:v>16885</c:v>
                </c:pt>
                <c:pt idx="110">
                  <c:v>16907</c:v>
                </c:pt>
                <c:pt idx="111">
                  <c:v>17087</c:v>
                </c:pt>
                <c:pt idx="112">
                  <c:v>17265</c:v>
                </c:pt>
                <c:pt idx="113">
                  <c:v>17389</c:v>
                </c:pt>
                <c:pt idx="114">
                  <c:v>17408</c:v>
                </c:pt>
                <c:pt idx="115">
                  <c:v>17480</c:v>
                </c:pt>
                <c:pt idx="116">
                  <c:v>17560</c:v>
                </c:pt>
                <c:pt idx="117">
                  <c:v>17658</c:v>
                </c:pt>
                <c:pt idx="118">
                  <c:v>17824</c:v>
                </c:pt>
                <c:pt idx="119">
                  <c:v>18010</c:v>
                </c:pt>
                <c:pt idx="120">
                  <c:v>18159</c:v>
                </c:pt>
                <c:pt idx="121">
                  <c:v>18295</c:v>
                </c:pt>
                <c:pt idx="122">
                  <c:v>18362</c:v>
                </c:pt>
                <c:pt idx="123">
                  <c:v>18424</c:v>
                </c:pt>
                <c:pt idx="124">
                  <c:v>18467</c:v>
                </c:pt>
                <c:pt idx="125">
                  <c:v>18738</c:v>
                </c:pt>
                <c:pt idx="126">
                  <c:v>18894</c:v>
                </c:pt>
                <c:pt idx="127">
                  <c:v>19057</c:v>
                </c:pt>
                <c:pt idx="128">
                  <c:v>19291</c:v>
                </c:pt>
                <c:pt idx="129">
                  <c:v>19480</c:v>
                </c:pt>
                <c:pt idx="130">
                  <c:v>19546</c:v>
                </c:pt>
                <c:pt idx="131">
                  <c:v>19583</c:v>
                </c:pt>
                <c:pt idx="132">
                  <c:v>19827</c:v>
                </c:pt>
                <c:pt idx="133">
                  <c:v>19957</c:v>
                </c:pt>
                <c:pt idx="134">
                  <c:v>20132</c:v>
                </c:pt>
                <c:pt idx="135">
                  <c:v>20230</c:v>
                </c:pt>
                <c:pt idx="136">
                  <c:v>20322</c:v>
                </c:pt>
                <c:pt idx="137">
                  <c:v>20357</c:v>
                </c:pt>
                <c:pt idx="138">
                  <c:v>20404</c:v>
                </c:pt>
                <c:pt idx="139">
                  <c:v>20571</c:v>
                </c:pt>
                <c:pt idx="140">
                  <c:v>20655</c:v>
                </c:pt>
                <c:pt idx="141">
                  <c:v>20802</c:v>
                </c:pt>
                <c:pt idx="142">
                  <c:v>20910</c:v>
                </c:pt>
                <c:pt idx="143">
                  <c:v>21029</c:v>
                </c:pt>
                <c:pt idx="144">
                  <c:v>21083</c:v>
                </c:pt>
                <c:pt idx="145">
                  <c:v>21109</c:v>
                </c:pt>
                <c:pt idx="146">
                  <c:v>21197</c:v>
                </c:pt>
                <c:pt idx="147">
                  <c:v>21240</c:v>
                </c:pt>
                <c:pt idx="148">
                  <c:v>21336</c:v>
                </c:pt>
                <c:pt idx="149">
                  <c:v>21404</c:v>
                </c:pt>
                <c:pt idx="150">
                  <c:v>21442</c:v>
                </c:pt>
                <c:pt idx="151">
                  <c:v>21491</c:v>
                </c:pt>
                <c:pt idx="152">
                  <c:v>21501</c:v>
                </c:pt>
                <c:pt idx="153">
                  <c:v>21609</c:v>
                </c:pt>
                <c:pt idx="154">
                  <c:v>21707</c:v>
                </c:pt>
                <c:pt idx="155">
                  <c:v>21810</c:v>
                </c:pt>
                <c:pt idx="156">
                  <c:v>21895</c:v>
                </c:pt>
                <c:pt idx="157">
                  <c:v>21982</c:v>
                </c:pt>
                <c:pt idx="158">
                  <c:v>22026</c:v>
                </c:pt>
                <c:pt idx="159">
                  <c:v>22042</c:v>
                </c:pt>
                <c:pt idx="160">
                  <c:v>22108</c:v>
                </c:pt>
                <c:pt idx="161">
                  <c:v>22174</c:v>
                </c:pt>
                <c:pt idx="162">
                  <c:v>22242</c:v>
                </c:pt>
                <c:pt idx="163">
                  <c:v>22312</c:v>
                </c:pt>
                <c:pt idx="164">
                  <c:v>22364</c:v>
                </c:pt>
                <c:pt idx="165">
                  <c:v>22373</c:v>
                </c:pt>
                <c:pt idx="166">
                  <c:v>22387</c:v>
                </c:pt>
                <c:pt idx="167">
                  <c:v>22424</c:v>
                </c:pt>
                <c:pt idx="168">
                  <c:v>22443</c:v>
                </c:pt>
                <c:pt idx="169">
                  <c:v>22473</c:v>
                </c:pt>
                <c:pt idx="170">
                  <c:v>22503</c:v>
                </c:pt>
                <c:pt idx="171">
                  <c:v>22532</c:v>
                </c:pt>
                <c:pt idx="172">
                  <c:v>22551</c:v>
                </c:pt>
                <c:pt idx="173">
                  <c:v>22559</c:v>
                </c:pt>
                <c:pt idx="174">
                  <c:v>22651</c:v>
                </c:pt>
                <c:pt idx="175">
                  <c:v>22688</c:v>
                </c:pt>
                <c:pt idx="176">
                  <c:v>22722</c:v>
                </c:pt>
                <c:pt idx="177">
                  <c:v>22768</c:v>
                </c:pt>
                <c:pt idx="178">
                  <c:v>22817</c:v>
                </c:pt>
                <c:pt idx="179">
                  <c:v>22828</c:v>
                </c:pt>
                <c:pt idx="180">
                  <c:v>22831</c:v>
                </c:pt>
                <c:pt idx="181">
                  <c:v>22910</c:v>
                </c:pt>
                <c:pt idx="182">
                  <c:v>22939</c:v>
                </c:pt>
                <c:pt idx="183">
                  <c:v>22983</c:v>
                </c:pt>
                <c:pt idx="184">
                  <c:v>22994</c:v>
                </c:pt>
                <c:pt idx="185">
                  <c:v>23018</c:v>
                </c:pt>
                <c:pt idx="186">
                  <c:v>23023</c:v>
                </c:pt>
                <c:pt idx="187">
                  <c:v>23029</c:v>
                </c:pt>
                <c:pt idx="188">
                  <c:v>23057</c:v>
                </c:pt>
                <c:pt idx="189">
                  <c:v>23169</c:v>
                </c:pt>
                <c:pt idx="190">
                  <c:v>23233</c:v>
                </c:pt>
                <c:pt idx="191">
                  <c:v>23248</c:v>
                </c:pt>
                <c:pt idx="192">
                  <c:v>23282</c:v>
                </c:pt>
                <c:pt idx="193">
                  <c:v>23291</c:v>
                </c:pt>
                <c:pt idx="194">
                  <c:v>23298</c:v>
                </c:pt>
                <c:pt idx="195">
                  <c:v>23330</c:v>
                </c:pt>
                <c:pt idx="196">
                  <c:v>23352</c:v>
                </c:pt>
                <c:pt idx="197">
                  <c:v>23364</c:v>
                </c:pt>
                <c:pt idx="198">
                  <c:v>23401</c:v>
                </c:pt>
                <c:pt idx="199">
                  <c:v>23419</c:v>
                </c:pt>
                <c:pt idx="200">
                  <c:v>23429</c:v>
                </c:pt>
                <c:pt idx="201">
                  <c:v>23433</c:v>
                </c:pt>
                <c:pt idx="202">
                  <c:v>23446</c:v>
                </c:pt>
                <c:pt idx="203">
                  <c:v>23477</c:v>
                </c:pt>
                <c:pt idx="204">
                  <c:v>23499</c:v>
                </c:pt>
                <c:pt idx="205">
                  <c:v>23531</c:v>
                </c:pt>
                <c:pt idx="206">
                  <c:v>23538</c:v>
                </c:pt>
                <c:pt idx="207">
                  <c:v>23541</c:v>
                </c:pt>
                <c:pt idx="208">
                  <c:v>23545</c:v>
                </c:pt>
                <c:pt idx="209">
                  <c:v>23567</c:v>
                </c:pt>
                <c:pt idx="210">
                  <c:v>23580</c:v>
                </c:pt>
                <c:pt idx="211">
                  <c:v>23591</c:v>
                </c:pt>
                <c:pt idx="212">
                  <c:v>23602</c:v>
                </c:pt>
                <c:pt idx="213">
                  <c:v>23606</c:v>
                </c:pt>
                <c:pt idx="214">
                  <c:v>23610</c:v>
                </c:pt>
                <c:pt idx="215">
                  <c:v>23612</c:v>
                </c:pt>
                <c:pt idx="216">
                  <c:v>23613</c:v>
                </c:pt>
                <c:pt idx="217">
                  <c:v>23618</c:v>
                </c:pt>
                <c:pt idx="218">
                  <c:v>23637</c:v>
                </c:pt>
                <c:pt idx="219">
                  <c:v>23639</c:v>
                </c:pt>
                <c:pt idx="220">
                  <c:v>23642</c:v>
                </c:pt>
                <c:pt idx="221">
                  <c:v>23643</c:v>
                </c:pt>
                <c:pt idx="222">
                  <c:v>23643</c:v>
                </c:pt>
                <c:pt idx="223">
                  <c:v>23645</c:v>
                </c:pt>
                <c:pt idx="224">
                  <c:v>23648</c:v>
                </c:pt>
                <c:pt idx="225">
                  <c:v>23652</c:v>
                </c:pt>
                <c:pt idx="226">
                  <c:v>23656</c:v>
                </c:pt>
                <c:pt idx="227">
                  <c:v>23657</c:v>
                </c:pt>
                <c:pt idx="228">
                  <c:v>23658</c:v>
                </c:pt>
                <c:pt idx="229">
                  <c:v>23660</c:v>
                </c:pt>
                <c:pt idx="230">
                  <c:v>23666</c:v>
                </c:pt>
                <c:pt idx="231">
                  <c:v>23671</c:v>
                </c:pt>
                <c:pt idx="232">
                  <c:v>23674</c:v>
                </c:pt>
                <c:pt idx="233">
                  <c:v>23693</c:v>
                </c:pt>
                <c:pt idx="234">
                  <c:v>23701</c:v>
                </c:pt>
                <c:pt idx="235">
                  <c:v>23702</c:v>
                </c:pt>
                <c:pt idx="236">
                  <c:v>23702</c:v>
                </c:pt>
                <c:pt idx="237">
                  <c:v>23704</c:v>
                </c:pt>
                <c:pt idx="238">
                  <c:v>23708</c:v>
                </c:pt>
                <c:pt idx="239">
                  <c:v>23709</c:v>
                </c:pt>
                <c:pt idx="240">
                  <c:v>23711</c:v>
                </c:pt>
                <c:pt idx="241">
                  <c:v>23712</c:v>
                </c:pt>
                <c:pt idx="242">
                  <c:v>23712</c:v>
                </c:pt>
                <c:pt idx="243">
                  <c:v>23712</c:v>
                </c:pt>
                <c:pt idx="244">
                  <c:v>23714</c:v>
                </c:pt>
                <c:pt idx="245">
                  <c:v>23714</c:v>
                </c:pt>
                <c:pt idx="246">
                  <c:v>23717</c:v>
                </c:pt>
                <c:pt idx="247">
                  <c:v>23718</c:v>
                </c:pt>
                <c:pt idx="248">
                  <c:v>23720</c:v>
                </c:pt>
                <c:pt idx="249">
                  <c:v>23720</c:v>
                </c:pt>
                <c:pt idx="250">
                  <c:v>23723</c:v>
                </c:pt>
                <c:pt idx="251">
                  <c:v>23728</c:v>
                </c:pt>
                <c:pt idx="252">
                  <c:v>23730</c:v>
                </c:pt>
                <c:pt idx="253">
                  <c:v>23730</c:v>
                </c:pt>
                <c:pt idx="254">
                  <c:v>23733</c:v>
                </c:pt>
                <c:pt idx="255">
                  <c:v>23738</c:v>
                </c:pt>
                <c:pt idx="256">
                  <c:v>23739</c:v>
                </c:pt>
                <c:pt idx="257">
                  <c:v>23739</c:v>
                </c:pt>
                <c:pt idx="258">
                  <c:v>23742</c:v>
                </c:pt>
                <c:pt idx="259">
                  <c:v>23742</c:v>
                </c:pt>
                <c:pt idx="260">
                  <c:v>23744</c:v>
                </c:pt>
                <c:pt idx="261">
                  <c:v>23744</c:v>
                </c:pt>
                <c:pt idx="262">
                  <c:v>23744</c:v>
                </c:pt>
                <c:pt idx="263">
                  <c:v>23744</c:v>
                </c:pt>
                <c:pt idx="264">
                  <c:v>23744</c:v>
                </c:pt>
                <c:pt idx="265">
                  <c:v>23746</c:v>
                </c:pt>
                <c:pt idx="266">
                  <c:v>23746</c:v>
                </c:pt>
                <c:pt idx="267">
                  <c:v>23746</c:v>
                </c:pt>
                <c:pt idx="268">
                  <c:v>23746</c:v>
                </c:pt>
                <c:pt idx="269">
                  <c:v>23746</c:v>
                </c:pt>
                <c:pt idx="270">
                  <c:v>23746</c:v>
                </c:pt>
                <c:pt idx="271">
                  <c:v>23746</c:v>
                </c:pt>
                <c:pt idx="272">
                  <c:v>23747</c:v>
                </c:pt>
                <c:pt idx="273">
                  <c:v>23747</c:v>
                </c:pt>
                <c:pt idx="274">
                  <c:v>23750</c:v>
                </c:pt>
                <c:pt idx="275">
                  <c:v>23751</c:v>
                </c:pt>
                <c:pt idx="276">
                  <c:v>23751</c:v>
                </c:pt>
                <c:pt idx="277">
                  <c:v>23751</c:v>
                </c:pt>
                <c:pt idx="278">
                  <c:v>23751</c:v>
                </c:pt>
                <c:pt idx="279">
                  <c:v>23752</c:v>
                </c:pt>
                <c:pt idx="280">
                  <c:v>23752</c:v>
                </c:pt>
                <c:pt idx="281">
                  <c:v>23752</c:v>
                </c:pt>
                <c:pt idx="282">
                  <c:v>23752</c:v>
                </c:pt>
                <c:pt idx="283">
                  <c:v>23753</c:v>
                </c:pt>
                <c:pt idx="284">
                  <c:v>23754</c:v>
                </c:pt>
                <c:pt idx="285">
                  <c:v>23754</c:v>
                </c:pt>
                <c:pt idx="286">
                  <c:v>23754</c:v>
                </c:pt>
                <c:pt idx="287">
                  <c:v>23754</c:v>
                </c:pt>
                <c:pt idx="288">
                  <c:v>23754</c:v>
                </c:pt>
                <c:pt idx="289">
                  <c:v>23755</c:v>
                </c:pt>
                <c:pt idx="290">
                  <c:v>23755</c:v>
                </c:pt>
                <c:pt idx="291">
                  <c:v>23755</c:v>
                </c:pt>
                <c:pt idx="292">
                  <c:v>23755</c:v>
                </c:pt>
                <c:pt idx="293">
                  <c:v>23755</c:v>
                </c:pt>
                <c:pt idx="294">
                  <c:v>23755</c:v>
                </c:pt>
                <c:pt idx="295">
                  <c:v>23756</c:v>
                </c:pt>
                <c:pt idx="296">
                  <c:v>23757</c:v>
                </c:pt>
                <c:pt idx="297">
                  <c:v>23757</c:v>
                </c:pt>
                <c:pt idx="298">
                  <c:v>23757</c:v>
                </c:pt>
                <c:pt idx="299">
                  <c:v>23757</c:v>
                </c:pt>
                <c:pt idx="300">
                  <c:v>23757</c:v>
                </c:pt>
                <c:pt idx="301">
                  <c:v>23757</c:v>
                </c:pt>
                <c:pt idx="302">
                  <c:v>23757</c:v>
                </c:pt>
                <c:pt idx="303">
                  <c:v>23758</c:v>
                </c:pt>
                <c:pt idx="304">
                  <c:v>23758</c:v>
                </c:pt>
                <c:pt idx="305">
                  <c:v>23758</c:v>
                </c:pt>
                <c:pt idx="306">
                  <c:v>23759</c:v>
                </c:pt>
                <c:pt idx="307">
                  <c:v>23759</c:v>
                </c:pt>
                <c:pt idx="308">
                  <c:v>23760</c:v>
                </c:pt>
                <c:pt idx="309">
                  <c:v>23760</c:v>
                </c:pt>
                <c:pt idx="310">
                  <c:v>23761</c:v>
                </c:pt>
                <c:pt idx="311">
                  <c:v>23761</c:v>
                </c:pt>
                <c:pt idx="312">
                  <c:v>23761</c:v>
                </c:pt>
                <c:pt idx="313">
                  <c:v>23761</c:v>
                </c:pt>
                <c:pt idx="314">
                  <c:v>23761</c:v>
                </c:pt>
                <c:pt idx="315">
                  <c:v>23761</c:v>
                </c:pt>
                <c:pt idx="316">
                  <c:v>23761</c:v>
                </c:pt>
                <c:pt idx="317">
                  <c:v>23761</c:v>
                </c:pt>
                <c:pt idx="318">
                  <c:v>23761</c:v>
                </c:pt>
                <c:pt idx="319">
                  <c:v>23761</c:v>
                </c:pt>
                <c:pt idx="320">
                  <c:v>23761</c:v>
                </c:pt>
                <c:pt idx="321">
                  <c:v>23761</c:v>
                </c:pt>
                <c:pt idx="322">
                  <c:v>23761</c:v>
                </c:pt>
                <c:pt idx="323">
                  <c:v>23761</c:v>
                </c:pt>
                <c:pt idx="324">
                  <c:v>23761</c:v>
                </c:pt>
                <c:pt idx="325">
                  <c:v>23761</c:v>
                </c:pt>
                <c:pt idx="326">
                  <c:v>23762</c:v>
                </c:pt>
                <c:pt idx="327">
                  <c:v>23762</c:v>
                </c:pt>
                <c:pt idx="328">
                  <c:v>23762</c:v>
                </c:pt>
                <c:pt idx="329">
                  <c:v>23762</c:v>
                </c:pt>
                <c:pt idx="330">
                  <c:v>23762</c:v>
                </c:pt>
                <c:pt idx="331">
                  <c:v>23762</c:v>
                </c:pt>
                <c:pt idx="332">
                  <c:v>23763</c:v>
                </c:pt>
                <c:pt idx="333">
                  <c:v>23763</c:v>
                </c:pt>
                <c:pt idx="334">
                  <c:v>23763</c:v>
                </c:pt>
                <c:pt idx="335">
                  <c:v>23763</c:v>
                </c:pt>
                <c:pt idx="336">
                  <c:v>23763</c:v>
                </c:pt>
                <c:pt idx="337">
                  <c:v>23763</c:v>
                </c:pt>
                <c:pt idx="338">
                  <c:v>23763</c:v>
                </c:pt>
                <c:pt idx="339">
                  <c:v>23763</c:v>
                </c:pt>
                <c:pt idx="340">
                  <c:v>23763</c:v>
                </c:pt>
                <c:pt idx="341">
                  <c:v>23763</c:v>
                </c:pt>
                <c:pt idx="342">
                  <c:v>23763</c:v>
                </c:pt>
                <c:pt idx="343">
                  <c:v>23763</c:v>
                </c:pt>
                <c:pt idx="344">
                  <c:v>23763</c:v>
                </c:pt>
                <c:pt idx="345">
                  <c:v>23763</c:v>
                </c:pt>
                <c:pt idx="346">
                  <c:v>23763</c:v>
                </c:pt>
                <c:pt idx="347">
                  <c:v>23763</c:v>
                </c:pt>
                <c:pt idx="348">
                  <c:v>23763</c:v>
                </c:pt>
                <c:pt idx="349">
                  <c:v>23764</c:v>
                </c:pt>
                <c:pt idx="350">
                  <c:v>23765</c:v>
                </c:pt>
                <c:pt idx="351">
                  <c:v>23765</c:v>
                </c:pt>
                <c:pt idx="352">
                  <c:v>23766</c:v>
                </c:pt>
                <c:pt idx="353">
                  <c:v>23766</c:v>
                </c:pt>
                <c:pt idx="354">
                  <c:v>23766</c:v>
                </c:pt>
                <c:pt idx="355">
                  <c:v>23766</c:v>
                </c:pt>
                <c:pt idx="356">
                  <c:v>23768</c:v>
                </c:pt>
                <c:pt idx="357">
                  <c:v>23768</c:v>
                </c:pt>
                <c:pt idx="358">
                  <c:v>23768</c:v>
                </c:pt>
                <c:pt idx="359">
                  <c:v>23768</c:v>
                </c:pt>
                <c:pt idx="360">
                  <c:v>23768</c:v>
                </c:pt>
                <c:pt idx="361">
                  <c:v>23768</c:v>
                </c:pt>
                <c:pt idx="362">
                  <c:v>23768</c:v>
                </c:pt>
                <c:pt idx="363">
                  <c:v>23768</c:v>
                </c:pt>
                <c:pt idx="364">
                  <c:v>23768</c:v>
                </c:pt>
                <c:pt idx="365">
                  <c:v>23769</c:v>
                </c:pt>
                <c:pt idx="366">
                  <c:v>23773</c:v>
                </c:pt>
                <c:pt idx="367">
                  <c:v>23775</c:v>
                </c:pt>
                <c:pt idx="368">
                  <c:v>23776</c:v>
                </c:pt>
                <c:pt idx="369">
                  <c:v>23776</c:v>
                </c:pt>
                <c:pt idx="370">
                  <c:v>23780</c:v>
                </c:pt>
                <c:pt idx="371">
                  <c:v>23780</c:v>
                </c:pt>
                <c:pt idx="372">
                  <c:v>23780</c:v>
                </c:pt>
                <c:pt idx="373">
                  <c:v>23781</c:v>
                </c:pt>
                <c:pt idx="374">
                  <c:v>23781</c:v>
                </c:pt>
                <c:pt idx="375">
                  <c:v>23781</c:v>
                </c:pt>
                <c:pt idx="376">
                  <c:v>23781</c:v>
                </c:pt>
                <c:pt idx="377">
                  <c:v>23782</c:v>
                </c:pt>
                <c:pt idx="378">
                  <c:v>23782</c:v>
                </c:pt>
                <c:pt idx="379">
                  <c:v>23782</c:v>
                </c:pt>
                <c:pt idx="380">
                  <c:v>23782</c:v>
                </c:pt>
                <c:pt idx="381">
                  <c:v>23782</c:v>
                </c:pt>
                <c:pt idx="382">
                  <c:v>23782</c:v>
                </c:pt>
                <c:pt idx="383">
                  <c:v>23782</c:v>
                </c:pt>
                <c:pt idx="384">
                  <c:v>23783</c:v>
                </c:pt>
                <c:pt idx="385">
                  <c:v>23787</c:v>
                </c:pt>
                <c:pt idx="386">
                  <c:v>23788</c:v>
                </c:pt>
                <c:pt idx="387">
                  <c:v>23788</c:v>
                </c:pt>
                <c:pt idx="388">
                  <c:v>23788</c:v>
                </c:pt>
                <c:pt idx="389">
                  <c:v>23788</c:v>
                </c:pt>
                <c:pt idx="390">
                  <c:v>23788</c:v>
                </c:pt>
                <c:pt idx="391">
                  <c:v>23790</c:v>
                </c:pt>
                <c:pt idx="392">
                  <c:v>23790</c:v>
                </c:pt>
                <c:pt idx="393">
                  <c:v>23791</c:v>
                </c:pt>
                <c:pt idx="394">
                  <c:v>23791</c:v>
                </c:pt>
                <c:pt idx="395">
                  <c:v>23792</c:v>
                </c:pt>
                <c:pt idx="396">
                  <c:v>23793</c:v>
                </c:pt>
                <c:pt idx="397">
                  <c:v>23794</c:v>
                </c:pt>
                <c:pt idx="398">
                  <c:v>23796</c:v>
                </c:pt>
                <c:pt idx="399">
                  <c:v>23798</c:v>
                </c:pt>
                <c:pt idx="400">
                  <c:v>23809</c:v>
                </c:pt>
                <c:pt idx="401">
                  <c:v>23811</c:v>
                </c:pt>
                <c:pt idx="402">
                  <c:v>23836</c:v>
                </c:pt>
                <c:pt idx="403">
                  <c:v>23837</c:v>
                </c:pt>
                <c:pt idx="404">
                  <c:v>23837</c:v>
                </c:pt>
                <c:pt idx="405">
                  <c:v>23838</c:v>
                </c:pt>
                <c:pt idx="406">
                  <c:v>23839</c:v>
                </c:pt>
                <c:pt idx="407">
                  <c:v>23859</c:v>
                </c:pt>
                <c:pt idx="408">
                  <c:v>23862</c:v>
                </c:pt>
                <c:pt idx="409">
                  <c:v>23864</c:v>
                </c:pt>
                <c:pt idx="410">
                  <c:v>23864</c:v>
                </c:pt>
                <c:pt idx="411">
                  <c:v>23864</c:v>
                </c:pt>
                <c:pt idx="412">
                  <c:v>23870</c:v>
                </c:pt>
                <c:pt idx="413">
                  <c:v>23875</c:v>
                </c:pt>
                <c:pt idx="414">
                  <c:v>23879</c:v>
                </c:pt>
                <c:pt idx="415">
                  <c:v>23881</c:v>
                </c:pt>
                <c:pt idx="416">
                  <c:v>23886</c:v>
                </c:pt>
                <c:pt idx="417">
                  <c:v>23887</c:v>
                </c:pt>
                <c:pt idx="418">
                  <c:v>23888</c:v>
                </c:pt>
                <c:pt idx="419">
                  <c:v>23902</c:v>
                </c:pt>
                <c:pt idx="420">
                  <c:v>23911</c:v>
                </c:pt>
                <c:pt idx="421">
                  <c:v>23922</c:v>
                </c:pt>
                <c:pt idx="422">
                  <c:v>23922</c:v>
                </c:pt>
                <c:pt idx="423">
                  <c:v>23940</c:v>
                </c:pt>
                <c:pt idx="424">
                  <c:v>23947</c:v>
                </c:pt>
                <c:pt idx="425">
                  <c:v>23958</c:v>
                </c:pt>
                <c:pt idx="426">
                  <c:v>23993</c:v>
                </c:pt>
                <c:pt idx="427">
                  <c:v>24008</c:v>
                </c:pt>
                <c:pt idx="428">
                  <c:v>24024</c:v>
                </c:pt>
                <c:pt idx="429">
                  <c:v>24077</c:v>
                </c:pt>
                <c:pt idx="430">
                  <c:v>24100</c:v>
                </c:pt>
                <c:pt idx="431">
                  <c:v>24106</c:v>
                </c:pt>
                <c:pt idx="432">
                  <c:v>24111</c:v>
                </c:pt>
                <c:pt idx="433">
                  <c:v>24141</c:v>
                </c:pt>
                <c:pt idx="434">
                  <c:v>24171</c:v>
                </c:pt>
                <c:pt idx="435">
                  <c:v>24187</c:v>
                </c:pt>
                <c:pt idx="436">
                  <c:v>24206</c:v>
                </c:pt>
                <c:pt idx="437">
                  <c:v>24223</c:v>
                </c:pt>
                <c:pt idx="438">
                  <c:v>24236</c:v>
                </c:pt>
                <c:pt idx="439">
                  <c:v>24251</c:v>
                </c:pt>
                <c:pt idx="440">
                  <c:v>24294</c:v>
                </c:pt>
                <c:pt idx="441">
                  <c:v>24326</c:v>
                </c:pt>
                <c:pt idx="442">
                  <c:v>24351</c:v>
                </c:pt>
                <c:pt idx="443">
                  <c:v>24407</c:v>
                </c:pt>
                <c:pt idx="444">
                  <c:v>24492</c:v>
                </c:pt>
                <c:pt idx="445">
                  <c:v>24518</c:v>
                </c:pt>
                <c:pt idx="446">
                  <c:v>24527</c:v>
                </c:pt>
                <c:pt idx="447">
                  <c:v>24577</c:v>
                </c:pt>
                <c:pt idx="448">
                  <c:v>24601</c:v>
                </c:pt>
                <c:pt idx="449">
                  <c:v>24643</c:v>
                </c:pt>
                <c:pt idx="450">
                  <c:v>24672</c:v>
                </c:pt>
                <c:pt idx="451">
                  <c:v>24725</c:v>
                </c:pt>
                <c:pt idx="452">
                  <c:v>24730</c:v>
                </c:pt>
                <c:pt idx="453">
                  <c:v>24737</c:v>
                </c:pt>
                <c:pt idx="454">
                  <c:v>24781</c:v>
                </c:pt>
                <c:pt idx="455">
                  <c:v>24796</c:v>
                </c:pt>
                <c:pt idx="456">
                  <c:v>24827</c:v>
                </c:pt>
                <c:pt idx="457">
                  <c:v>24858</c:v>
                </c:pt>
                <c:pt idx="458">
                  <c:v>24872</c:v>
                </c:pt>
                <c:pt idx="459">
                  <c:v>24910</c:v>
                </c:pt>
                <c:pt idx="460">
                  <c:v>24917</c:v>
                </c:pt>
                <c:pt idx="461">
                  <c:v>24948</c:v>
                </c:pt>
                <c:pt idx="462">
                  <c:v>24970</c:v>
                </c:pt>
                <c:pt idx="463">
                  <c:v>24988</c:v>
                </c:pt>
                <c:pt idx="464">
                  <c:v>25019</c:v>
                </c:pt>
                <c:pt idx="465">
                  <c:v>25049</c:v>
                </c:pt>
                <c:pt idx="466">
                  <c:v>25055</c:v>
                </c:pt>
                <c:pt idx="467">
                  <c:v>25056</c:v>
                </c:pt>
                <c:pt idx="468">
                  <c:v>25074</c:v>
                </c:pt>
                <c:pt idx="469">
                  <c:v>25101</c:v>
                </c:pt>
                <c:pt idx="470">
                  <c:v>25118</c:v>
                </c:pt>
                <c:pt idx="471">
                  <c:v>25125</c:v>
                </c:pt>
                <c:pt idx="472">
                  <c:v>25137</c:v>
                </c:pt>
                <c:pt idx="473">
                  <c:v>25139</c:v>
                </c:pt>
                <c:pt idx="474">
                  <c:v>25142</c:v>
                </c:pt>
                <c:pt idx="475">
                  <c:v>25158</c:v>
                </c:pt>
                <c:pt idx="476">
                  <c:v>25166</c:v>
                </c:pt>
                <c:pt idx="477">
                  <c:v>25169</c:v>
                </c:pt>
                <c:pt idx="478">
                  <c:v>25174</c:v>
                </c:pt>
                <c:pt idx="479">
                  <c:v>25175</c:v>
                </c:pt>
                <c:pt idx="480">
                  <c:v>25180</c:v>
                </c:pt>
                <c:pt idx="481">
                  <c:v>25180</c:v>
                </c:pt>
                <c:pt idx="482">
                  <c:v>25190</c:v>
                </c:pt>
                <c:pt idx="483">
                  <c:v>25196</c:v>
                </c:pt>
                <c:pt idx="484">
                  <c:v>25202</c:v>
                </c:pt>
                <c:pt idx="485">
                  <c:v>25204</c:v>
                </c:pt>
                <c:pt idx="486">
                  <c:v>25214</c:v>
                </c:pt>
                <c:pt idx="487">
                  <c:v>25217</c:v>
                </c:pt>
                <c:pt idx="488">
                  <c:v>25217</c:v>
                </c:pt>
                <c:pt idx="489">
                  <c:v>25221</c:v>
                </c:pt>
                <c:pt idx="490">
                  <c:v>25227</c:v>
                </c:pt>
                <c:pt idx="491">
                  <c:v>25234</c:v>
                </c:pt>
                <c:pt idx="492">
                  <c:v>25241</c:v>
                </c:pt>
                <c:pt idx="493">
                  <c:v>25247</c:v>
                </c:pt>
                <c:pt idx="494">
                  <c:v>25248</c:v>
                </c:pt>
                <c:pt idx="495">
                  <c:v>25250</c:v>
                </c:pt>
                <c:pt idx="496">
                  <c:v>25251</c:v>
                </c:pt>
                <c:pt idx="497">
                  <c:v>25259</c:v>
                </c:pt>
                <c:pt idx="498">
                  <c:v>25263</c:v>
                </c:pt>
                <c:pt idx="499">
                  <c:v>25266</c:v>
                </c:pt>
                <c:pt idx="500">
                  <c:v>25274</c:v>
                </c:pt>
                <c:pt idx="501">
                  <c:v>25275</c:v>
                </c:pt>
                <c:pt idx="502">
                  <c:v>25279</c:v>
                </c:pt>
                <c:pt idx="503">
                  <c:v>25300</c:v>
                </c:pt>
                <c:pt idx="504">
                  <c:v>25313</c:v>
                </c:pt>
                <c:pt idx="505">
                  <c:v>25324</c:v>
                </c:pt>
                <c:pt idx="506">
                  <c:v>25346</c:v>
                </c:pt>
                <c:pt idx="507">
                  <c:v>25362</c:v>
                </c:pt>
                <c:pt idx="508">
                  <c:v>25394</c:v>
                </c:pt>
                <c:pt idx="509">
                  <c:v>25400</c:v>
                </c:pt>
                <c:pt idx="510">
                  <c:v>25445</c:v>
                </c:pt>
                <c:pt idx="511">
                  <c:v>25486</c:v>
                </c:pt>
                <c:pt idx="512">
                  <c:v>25525</c:v>
                </c:pt>
                <c:pt idx="513">
                  <c:v>25550</c:v>
                </c:pt>
                <c:pt idx="514">
                  <c:v>25598</c:v>
                </c:pt>
                <c:pt idx="515">
                  <c:v>25602</c:v>
                </c:pt>
                <c:pt idx="516">
                  <c:v>25608</c:v>
                </c:pt>
                <c:pt idx="517">
                  <c:v>25650</c:v>
                </c:pt>
                <c:pt idx="518">
                  <c:v>25703</c:v>
                </c:pt>
                <c:pt idx="519">
                  <c:v>25736</c:v>
                </c:pt>
                <c:pt idx="520">
                  <c:v>25757</c:v>
                </c:pt>
                <c:pt idx="521">
                  <c:v>25814</c:v>
                </c:pt>
                <c:pt idx="522">
                  <c:v>25834</c:v>
                </c:pt>
                <c:pt idx="523">
                  <c:v>25849</c:v>
                </c:pt>
                <c:pt idx="524">
                  <c:v>25937</c:v>
                </c:pt>
                <c:pt idx="525">
                  <c:v>25988</c:v>
                </c:pt>
                <c:pt idx="526">
                  <c:v>26017</c:v>
                </c:pt>
                <c:pt idx="527">
                  <c:v>26057</c:v>
                </c:pt>
                <c:pt idx="528">
                  <c:v>26122</c:v>
                </c:pt>
                <c:pt idx="529">
                  <c:v>26142</c:v>
                </c:pt>
                <c:pt idx="530">
                  <c:v>26158</c:v>
                </c:pt>
                <c:pt idx="531">
                  <c:v>26220</c:v>
                </c:pt>
                <c:pt idx="532">
                  <c:v>26274</c:v>
                </c:pt>
                <c:pt idx="533">
                  <c:v>26324</c:v>
                </c:pt>
                <c:pt idx="534">
                  <c:v>26405</c:v>
                </c:pt>
                <c:pt idx="535">
                  <c:v>26443</c:v>
                </c:pt>
                <c:pt idx="536">
                  <c:v>26451</c:v>
                </c:pt>
                <c:pt idx="537">
                  <c:v>26464</c:v>
                </c:pt>
                <c:pt idx="538">
                  <c:v>26502</c:v>
                </c:pt>
                <c:pt idx="539">
                  <c:v>26563</c:v>
                </c:pt>
                <c:pt idx="540">
                  <c:v>26610</c:v>
                </c:pt>
                <c:pt idx="541">
                  <c:v>26632</c:v>
                </c:pt>
                <c:pt idx="542">
                  <c:v>26671</c:v>
                </c:pt>
                <c:pt idx="543">
                  <c:v>26681</c:v>
                </c:pt>
                <c:pt idx="544">
                  <c:v>26686</c:v>
                </c:pt>
                <c:pt idx="545">
                  <c:v>26726</c:v>
                </c:pt>
                <c:pt idx="546">
                  <c:v>26751</c:v>
                </c:pt>
                <c:pt idx="547">
                  <c:v>26783</c:v>
                </c:pt>
                <c:pt idx="548">
                  <c:v>26802</c:v>
                </c:pt>
                <c:pt idx="549">
                  <c:v>26820</c:v>
                </c:pt>
                <c:pt idx="550">
                  <c:v>26824</c:v>
                </c:pt>
                <c:pt idx="551">
                  <c:v>26830</c:v>
                </c:pt>
                <c:pt idx="552">
                  <c:v>26856</c:v>
                </c:pt>
                <c:pt idx="553">
                  <c:v>26916</c:v>
                </c:pt>
                <c:pt idx="554">
                  <c:v>26945</c:v>
                </c:pt>
                <c:pt idx="555">
                  <c:v>26964</c:v>
                </c:pt>
                <c:pt idx="556">
                  <c:v>269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3C3-4558-95C0-65D81E5CAFC4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ersoná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558</c:f>
              <c:numCache>
                <c:formatCode>m/d/yyyy</c:formatCode>
                <c:ptCount val="55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</c:numCache>
            </c:numRef>
          </c:cat>
          <c:val>
            <c:numRef>
              <c:f>List1!$C$2:$C$558</c:f>
              <c:numCache>
                <c:formatCode>General</c:formatCode>
                <c:ptCount val="557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7</c:v>
                </c:pt>
                <c:pt idx="4">
                  <c:v>7</c:v>
                </c:pt>
                <c:pt idx="5">
                  <c:v>7</c:v>
                </c:pt>
                <c:pt idx="6">
                  <c:v>7</c:v>
                </c:pt>
                <c:pt idx="7">
                  <c:v>7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2</c:v>
                </c:pt>
                <c:pt idx="13">
                  <c:v>16</c:v>
                </c:pt>
                <c:pt idx="14">
                  <c:v>18</c:v>
                </c:pt>
                <c:pt idx="15">
                  <c:v>20</c:v>
                </c:pt>
                <c:pt idx="16">
                  <c:v>22</c:v>
                </c:pt>
                <c:pt idx="17">
                  <c:v>24</c:v>
                </c:pt>
                <c:pt idx="18">
                  <c:v>26</c:v>
                </c:pt>
                <c:pt idx="19">
                  <c:v>30</c:v>
                </c:pt>
                <c:pt idx="20">
                  <c:v>35</c:v>
                </c:pt>
                <c:pt idx="21">
                  <c:v>42</c:v>
                </c:pt>
                <c:pt idx="22">
                  <c:v>43</c:v>
                </c:pt>
                <c:pt idx="23">
                  <c:v>47</c:v>
                </c:pt>
                <c:pt idx="24">
                  <c:v>59</c:v>
                </c:pt>
                <c:pt idx="25">
                  <c:v>66</c:v>
                </c:pt>
                <c:pt idx="26">
                  <c:v>68</c:v>
                </c:pt>
                <c:pt idx="27">
                  <c:v>74</c:v>
                </c:pt>
                <c:pt idx="28">
                  <c:v>100</c:v>
                </c:pt>
                <c:pt idx="29">
                  <c:v>110</c:v>
                </c:pt>
                <c:pt idx="30">
                  <c:v>140</c:v>
                </c:pt>
                <c:pt idx="31">
                  <c:v>238</c:v>
                </c:pt>
                <c:pt idx="32">
                  <c:v>271</c:v>
                </c:pt>
                <c:pt idx="33">
                  <c:v>303</c:v>
                </c:pt>
                <c:pt idx="34">
                  <c:v>403</c:v>
                </c:pt>
                <c:pt idx="35">
                  <c:v>454</c:v>
                </c:pt>
                <c:pt idx="36">
                  <c:v>497</c:v>
                </c:pt>
                <c:pt idx="37">
                  <c:v>585</c:v>
                </c:pt>
                <c:pt idx="38">
                  <c:v>678</c:v>
                </c:pt>
                <c:pt idx="39">
                  <c:v>729</c:v>
                </c:pt>
                <c:pt idx="40">
                  <c:v>755</c:v>
                </c:pt>
                <c:pt idx="41">
                  <c:v>933</c:v>
                </c:pt>
                <c:pt idx="42">
                  <c:v>1096</c:v>
                </c:pt>
                <c:pt idx="43">
                  <c:v>1295</c:v>
                </c:pt>
                <c:pt idx="44">
                  <c:v>1508</c:v>
                </c:pt>
                <c:pt idx="45">
                  <c:v>1725</c:v>
                </c:pt>
                <c:pt idx="46">
                  <c:v>1833</c:v>
                </c:pt>
                <c:pt idx="47">
                  <c:v>1883</c:v>
                </c:pt>
                <c:pt idx="48">
                  <c:v>2088</c:v>
                </c:pt>
                <c:pt idx="49">
                  <c:v>2291</c:v>
                </c:pt>
                <c:pt idx="50">
                  <c:v>2565</c:v>
                </c:pt>
                <c:pt idx="51">
                  <c:v>2807</c:v>
                </c:pt>
                <c:pt idx="52">
                  <c:v>3155</c:v>
                </c:pt>
                <c:pt idx="53">
                  <c:v>3345</c:v>
                </c:pt>
                <c:pt idx="54">
                  <c:v>3436</c:v>
                </c:pt>
                <c:pt idx="55">
                  <c:v>3823</c:v>
                </c:pt>
                <c:pt idx="56">
                  <c:v>4246</c:v>
                </c:pt>
                <c:pt idx="57">
                  <c:v>4385</c:v>
                </c:pt>
                <c:pt idx="58">
                  <c:v>4872</c:v>
                </c:pt>
                <c:pt idx="59">
                  <c:v>5220</c:v>
                </c:pt>
                <c:pt idx="60">
                  <c:v>5407</c:v>
                </c:pt>
                <c:pt idx="61">
                  <c:v>5528</c:v>
                </c:pt>
                <c:pt idx="62">
                  <c:v>5846</c:v>
                </c:pt>
                <c:pt idx="63">
                  <c:v>6091</c:v>
                </c:pt>
                <c:pt idx="64">
                  <c:v>6437</c:v>
                </c:pt>
                <c:pt idx="65">
                  <c:v>6731</c:v>
                </c:pt>
                <c:pt idx="66">
                  <c:v>6979</c:v>
                </c:pt>
                <c:pt idx="67">
                  <c:v>7101</c:v>
                </c:pt>
                <c:pt idx="68">
                  <c:v>7152</c:v>
                </c:pt>
                <c:pt idx="69">
                  <c:v>7360</c:v>
                </c:pt>
                <c:pt idx="70">
                  <c:v>7573</c:v>
                </c:pt>
                <c:pt idx="71">
                  <c:v>7850</c:v>
                </c:pt>
                <c:pt idx="72">
                  <c:v>8098</c:v>
                </c:pt>
                <c:pt idx="73">
                  <c:v>8309</c:v>
                </c:pt>
                <c:pt idx="74">
                  <c:v>8387</c:v>
                </c:pt>
                <c:pt idx="75">
                  <c:v>8421</c:v>
                </c:pt>
                <c:pt idx="76">
                  <c:v>8622</c:v>
                </c:pt>
                <c:pt idx="77">
                  <c:v>8675</c:v>
                </c:pt>
                <c:pt idx="78">
                  <c:v>8844</c:v>
                </c:pt>
                <c:pt idx="79">
                  <c:v>8983</c:v>
                </c:pt>
                <c:pt idx="80">
                  <c:v>9111</c:v>
                </c:pt>
                <c:pt idx="81">
                  <c:v>9152</c:v>
                </c:pt>
                <c:pt idx="82">
                  <c:v>9172</c:v>
                </c:pt>
                <c:pt idx="83">
                  <c:v>9324</c:v>
                </c:pt>
                <c:pt idx="84">
                  <c:v>9436</c:v>
                </c:pt>
                <c:pt idx="85">
                  <c:v>9534</c:v>
                </c:pt>
                <c:pt idx="86">
                  <c:v>9594</c:v>
                </c:pt>
                <c:pt idx="87">
                  <c:v>9678</c:v>
                </c:pt>
                <c:pt idx="88">
                  <c:v>9701</c:v>
                </c:pt>
                <c:pt idx="89">
                  <c:v>9717</c:v>
                </c:pt>
                <c:pt idx="90">
                  <c:v>9832</c:v>
                </c:pt>
                <c:pt idx="91">
                  <c:v>9924</c:v>
                </c:pt>
                <c:pt idx="92">
                  <c:v>9999</c:v>
                </c:pt>
                <c:pt idx="93">
                  <c:v>10063</c:v>
                </c:pt>
                <c:pt idx="94">
                  <c:v>10156</c:v>
                </c:pt>
                <c:pt idx="95">
                  <c:v>10198</c:v>
                </c:pt>
                <c:pt idx="96">
                  <c:v>10226</c:v>
                </c:pt>
                <c:pt idx="97">
                  <c:v>10348</c:v>
                </c:pt>
                <c:pt idx="98">
                  <c:v>10428</c:v>
                </c:pt>
                <c:pt idx="99">
                  <c:v>10494</c:v>
                </c:pt>
                <c:pt idx="100">
                  <c:v>10557</c:v>
                </c:pt>
                <c:pt idx="101">
                  <c:v>10637</c:v>
                </c:pt>
                <c:pt idx="102">
                  <c:v>10658</c:v>
                </c:pt>
                <c:pt idx="103">
                  <c:v>10676</c:v>
                </c:pt>
                <c:pt idx="104">
                  <c:v>10818</c:v>
                </c:pt>
                <c:pt idx="105">
                  <c:v>10891</c:v>
                </c:pt>
                <c:pt idx="106">
                  <c:v>10989</c:v>
                </c:pt>
                <c:pt idx="107">
                  <c:v>11045</c:v>
                </c:pt>
                <c:pt idx="108">
                  <c:v>11134</c:v>
                </c:pt>
                <c:pt idx="109">
                  <c:v>11166</c:v>
                </c:pt>
                <c:pt idx="110">
                  <c:v>11195</c:v>
                </c:pt>
                <c:pt idx="111">
                  <c:v>11363</c:v>
                </c:pt>
                <c:pt idx="112">
                  <c:v>11481</c:v>
                </c:pt>
                <c:pt idx="113">
                  <c:v>11611</c:v>
                </c:pt>
                <c:pt idx="114">
                  <c:v>11643</c:v>
                </c:pt>
                <c:pt idx="115">
                  <c:v>11694</c:v>
                </c:pt>
                <c:pt idx="116">
                  <c:v>11748</c:v>
                </c:pt>
                <c:pt idx="117">
                  <c:v>11797</c:v>
                </c:pt>
                <c:pt idx="118">
                  <c:v>11995</c:v>
                </c:pt>
                <c:pt idx="119">
                  <c:v>12147</c:v>
                </c:pt>
                <c:pt idx="120">
                  <c:v>12262</c:v>
                </c:pt>
                <c:pt idx="121">
                  <c:v>12356</c:v>
                </c:pt>
                <c:pt idx="122">
                  <c:v>12391</c:v>
                </c:pt>
                <c:pt idx="123">
                  <c:v>12458</c:v>
                </c:pt>
                <c:pt idx="124">
                  <c:v>12498</c:v>
                </c:pt>
                <c:pt idx="125">
                  <c:v>12804</c:v>
                </c:pt>
                <c:pt idx="126">
                  <c:v>12955</c:v>
                </c:pt>
                <c:pt idx="127">
                  <c:v>13078</c:v>
                </c:pt>
                <c:pt idx="128">
                  <c:v>13188</c:v>
                </c:pt>
                <c:pt idx="129">
                  <c:v>13323</c:v>
                </c:pt>
                <c:pt idx="130">
                  <c:v>13383</c:v>
                </c:pt>
                <c:pt idx="131">
                  <c:v>13410</c:v>
                </c:pt>
                <c:pt idx="132">
                  <c:v>13658</c:v>
                </c:pt>
                <c:pt idx="133">
                  <c:v>13759</c:v>
                </c:pt>
                <c:pt idx="134">
                  <c:v>13872</c:v>
                </c:pt>
                <c:pt idx="135">
                  <c:v>13931</c:v>
                </c:pt>
                <c:pt idx="136">
                  <c:v>14002</c:v>
                </c:pt>
                <c:pt idx="137">
                  <c:v>14038</c:v>
                </c:pt>
                <c:pt idx="138">
                  <c:v>14067</c:v>
                </c:pt>
                <c:pt idx="139">
                  <c:v>14201</c:v>
                </c:pt>
                <c:pt idx="140">
                  <c:v>14278</c:v>
                </c:pt>
                <c:pt idx="141">
                  <c:v>14351</c:v>
                </c:pt>
                <c:pt idx="142">
                  <c:v>14421</c:v>
                </c:pt>
                <c:pt idx="143">
                  <c:v>14504</c:v>
                </c:pt>
                <c:pt idx="144">
                  <c:v>14532</c:v>
                </c:pt>
                <c:pt idx="145">
                  <c:v>14546</c:v>
                </c:pt>
                <c:pt idx="146">
                  <c:v>14638</c:v>
                </c:pt>
                <c:pt idx="147">
                  <c:v>14717</c:v>
                </c:pt>
                <c:pt idx="148">
                  <c:v>14777</c:v>
                </c:pt>
                <c:pt idx="149">
                  <c:v>14813</c:v>
                </c:pt>
                <c:pt idx="150">
                  <c:v>14864</c:v>
                </c:pt>
                <c:pt idx="151">
                  <c:v>14895</c:v>
                </c:pt>
                <c:pt idx="152">
                  <c:v>14911</c:v>
                </c:pt>
                <c:pt idx="153">
                  <c:v>14995</c:v>
                </c:pt>
                <c:pt idx="154">
                  <c:v>15072</c:v>
                </c:pt>
                <c:pt idx="155">
                  <c:v>15133</c:v>
                </c:pt>
                <c:pt idx="156">
                  <c:v>15180</c:v>
                </c:pt>
                <c:pt idx="157">
                  <c:v>15234</c:v>
                </c:pt>
                <c:pt idx="158">
                  <c:v>15248</c:v>
                </c:pt>
                <c:pt idx="159">
                  <c:v>15266</c:v>
                </c:pt>
                <c:pt idx="160">
                  <c:v>15342</c:v>
                </c:pt>
                <c:pt idx="161">
                  <c:v>15364</c:v>
                </c:pt>
                <c:pt idx="162">
                  <c:v>15398</c:v>
                </c:pt>
                <c:pt idx="163">
                  <c:v>15440</c:v>
                </c:pt>
                <c:pt idx="164">
                  <c:v>15480</c:v>
                </c:pt>
                <c:pt idx="165">
                  <c:v>15495</c:v>
                </c:pt>
                <c:pt idx="166">
                  <c:v>15514</c:v>
                </c:pt>
                <c:pt idx="167">
                  <c:v>15582</c:v>
                </c:pt>
                <c:pt idx="168">
                  <c:v>15616</c:v>
                </c:pt>
                <c:pt idx="169">
                  <c:v>15653</c:v>
                </c:pt>
                <c:pt idx="170">
                  <c:v>15688</c:v>
                </c:pt>
                <c:pt idx="171">
                  <c:v>15731</c:v>
                </c:pt>
                <c:pt idx="172">
                  <c:v>15739</c:v>
                </c:pt>
                <c:pt idx="173">
                  <c:v>15762</c:v>
                </c:pt>
                <c:pt idx="174">
                  <c:v>15844</c:v>
                </c:pt>
                <c:pt idx="175">
                  <c:v>15892</c:v>
                </c:pt>
                <c:pt idx="176">
                  <c:v>15929</c:v>
                </c:pt>
                <c:pt idx="177">
                  <c:v>15965</c:v>
                </c:pt>
                <c:pt idx="178">
                  <c:v>16013</c:v>
                </c:pt>
                <c:pt idx="179">
                  <c:v>16025</c:v>
                </c:pt>
                <c:pt idx="180">
                  <c:v>16035</c:v>
                </c:pt>
                <c:pt idx="181">
                  <c:v>16102</c:v>
                </c:pt>
                <c:pt idx="182">
                  <c:v>16146</c:v>
                </c:pt>
                <c:pt idx="183">
                  <c:v>16203</c:v>
                </c:pt>
                <c:pt idx="184">
                  <c:v>16251</c:v>
                </c:pt>
                <c:pt idx="185">
                  <c:v>16287</c:v>
                </c:pt>
                <c:pt idx="186">
                  <c:v>16303</c:v>
                </c:pt>
                <c:pt idx="187">
                  <c:v>16317</c:v>
                </c:pt>
                <c:pt idx="188">
                  <c:v>16382</c:v>
                </c:pt>
                <c:pt idx="189">
                  <c:v>16422</c:v>
                </c:pt>
                <c:pt idx="190">
                  <c:v>16453</c:v>
                </c:pt>
                <c:pt idx="191">
                  <c:v>16483</c:v>
                </c:pt>
                <c:pt idx="192">
                  <c:v>16504</c:v>
                </c:pt>
                <c:pt idx="193">
                  <c:v>16516</c:v>
                </c:pt>
                <c:pt idx="194">
                  <c:v>16523</c:v>
                </c:pt>
                <c:pt idx="195">
                  <c:v>16564</c:v>
                </c:pt>
                <c:pt idx="196">
                  <c:v>16591</c:v>
                </c:pt>
                <c:pt idx="197">
                  <c:v>16618</c:v>
                </c:pt>
                <c:pt idx="198">
                  <c:v>16634</c:v>
                </c:pt>
                <c:pt idx="199">
                  <c:v>16658</c:v>
                </c:pt>
                <c:pt idx="200">
                  <c:v>16660</c:v>
                </c:pt>
                <c:pt idx="201">
                  <c:v>16665</c:v>
                </c:pt>
                <c:pt idx="202">
                  <c:v>16704</c:v>
                </c:pt>
                <c:pt idx="203">
                  <c:v>16723</c:v>
                </c:pt>
                <c:pt idx="204">
                  <c:v>16734</c:v>
                </c:pt>
                <c:pt idx="205">
                  <c:v>16745</c:v>
                </c:pt>
                <c:pt idx="206">
                  <c:v>16763</c:v>
                </c:pt>
                <c:pt idx="207">
                  <c:v>16766</c:v>
                </c:pt>
                <c:pt idx="208">
                  <c:v>16767</c:v>
                </c:pt>
                <c:pt idx="209">
                  <c:v>16792</c:v>
                </c:pt>
                <c:pt idx="210">
                  <c:v>16812</c:v>
                </c:pt>
                <c:pt idx="211">
                  <c:v>16826</c:v>
                </c:pt>
                <c:pt idx="212">
                  <c:v>16839</c:v>
                </c:pt>
                <c:pt idx="213">
                  <c:v>16844</c:v>
                </c:pt>
                <c:pt idx="214">
                  <c:v>16848</c:v>
                </c:pt>
                <c:pt idx="215">
                  <c:v>16850</c:v>
                </c:pt>
                <c:pt idx="216">
                  <c:v>16858</c:v>
                </c:pt>
                <c:pt idx="217">
                  <c:v>16880</c:v>
                </c:pt>
                <c:pt idx="218">
                  <c:v>16898</c:v>
                </c:pt>
                <c:pt idx="219">
                  <c:v>16915</c:v>
                </c:pt>
                <c:pt idx="220">
                  <c:v>16923</c:v>
                </c:pt>
                <c:pt idx="221">
                  <c:v>16929</c:v>
                </c:pt>
                <c:pt idx="222">
                  <c:v>16930</c:v>
                </c:pt>
                <c:pt idx="223">
                  <c:v>16939</c:v>
                </c:pt>
                <c:pt idx="224">
                  <c:v>16947</c:v>
                </c:pt>
                <c:pt idx="225">
                  <c:v>16952</c:v>
                </c:pt>
                <c:pt idx="226">
                  <c:v>16959</c:v>
                </c:pt>
                <c:pt idx="227">
                  <c:v>16966</c:v>
                </c:pt>
                <c:pt idx="228">
                  <c:v>16967</c:v>
                </c:pt>
                <c:pt idx="229">
                  <c:v>16968</c:v>
                </c:pt>
                <c:pt idx="230">
                  <c:v>16981</c:v>
                </c:pt>
                <c:pt idx="231">
                  <c:v>16988</c:v>
                </c:pt>
                <c:pt idx="232">
                  <c:v>16995</c:v>
                </c:pt>
                <c:pt idx="233">
                  <c:v>16999</c:v>
                </c:pt>
                <c:pt idx="234">
                  <c:v>17002</c:v>
                </c:pt>
                <c:pt idx="235">
                  <c:v>17003</c:v>
                </c:pt>
                <c:pt idx="236">
                  <c:v>17003</c:v>
                </c:pt>
                <c:pt idx="237">
                  <c:v>17011</c:v>
                </c:pt>
                <c:pt idx="238">
                  <c:v>17020</c:v>
                </c:pt>
                <c:pt idx="239">
                  <c:v>17024</c:v>
                </c:pt>
                <c:pt idx="240">
                  <c:v>17027</c:v>
                </c:pt>
                <c:pt idx="241">
                  <c:v>17033</c:v>
                </c:pt>
                <c:pt idx="242">
                  <c:v>17033</c:v>
                </c:pt>
                <c:pt idx="243">
                  <c:v>17034</c:v>
                </c:pt>
                <c:pt idx="244">
                  <c:v>17038</c:v>
                </c:pt>
                <c:pt idx="245">
                  <c:v>17040</c:v>
                </c:pt>
                <c:pt idx="246">
                  <c:v>17041</c:v>
                </c:pt>
                <c:pt idx="247">
                  <c:v>17046</c:v>
                </c:pt>
                <c:pt idx="248">
                  <c:v>17048</c:v>
                </c:pt>
                <c:pt idx="249">
                  <c:v>17050</c:v>
                </c:pt>
                <c:pt idx="250">
                  <c:v>17050</c:v>
                </c:pt>
                <c:pt idx="251">
                  <c:v>17053</c:v>
                </c:pt>
                <c:pt idx="252">
                  <c:v>17057</c:v>
                </c:pt>
                <c:pt idx="253">
                  <c:v>17057</c:v>
                </c:pt>
                <c:pt idx="254">
                  <c:v>17059</c:v>
                </c:pt>
                <c:pt idx="255">
                  <c:v>17060</c:v>
                </c:pt>
                <c:pt idx="256">
                  <c:v>17060</c:v>
                </c:pt>
                <c:pt idx="257">
                  <c:v>17060</c:v>
                </c:pt>
                <c:pt idx="258">
                  <c:v>17066</c:v>
                </c:pt>
                <c:pt idx="259">
                  <c:v>17071</c:v>
                </c:pt>
                <c:pt idx="260">
                  <c:v>17073</c:v>
                </c:pt>
                <c:pt idx="261">
                  <c:v>17076</c:v>
                </c:pt>
                <c:pt idx="262">
                  <c:v>17077</c:v>
                </c:pt>
                <c:pt idx="263">
                  <c:v>17077</c:v>
                </c:pt>
                <c:pt idx="264">
                  <c:v>17077</c:v>
                </c:pt>
                <c:pt idx="265">
                  <c:v>17079</c:v>
                </c:pt>
                <c:pt idx="266">
                  <c:v>17080</c:v>
                </c:pt>
                <c:pt idx="267">
                  <c:v>17081</c:v>
                </c:pt>
                <c:pt idx="268">
                  <c:v>17083</c:v>
                </c:pt>
                <c:pt idx="269">
                  <c:v>17083</c:v>
                </c:pt>
                <c:pt idx="270">
                  <c:v>17083</c:v>
                </c:pt>
                <c:pt idx="271">
                  <c:v>17083</c:v>
                </c:pt>
                <c:pt idx="272">
                  <c:v>17084</c:v>
                </c:pt>
                <c:pt idx="273">
                  <c:v>17084</c:v>
                </c:pt>
                <c:pt idx="274">
                  <c:v>17084</c:v>
                </c:pt>
                <c:pt idx="275">
                  <c:v>17086</c:v>
                </c:pt>
                <c:pt idx="276">
                  <c:v>17086</c:v>
                </c:pt>
                <c:pt idx="277">
                  <c:v>17086</c:v>
                </c:pt>
                <c:pt idx="278">
                  <c:v>17086</c:v>
                </c:pt>
                <c:pt idx="279">
                  <c:v>17086</c:v>
                </c:pt>
                <c:pt idx="280">
                  <c:v>17086</c:v>
                </c:pt>
                <c:pt idx="281">
                  <c:v>17086</c:v>
                </c:pt>
                <c:pt idx="282">
                  <c:v>17086</c:v>
                </c:pt>
                <c:pt idx="283">
                  <c:v>17086</c:v>
                </c:pt>
                <c:pt idx="284">
                  <c:v>17086</c:v>
                </c:pt>
                <c:pt idx="285">
                  <c:v>17086</c:v>
                </c:pt>
                <c:pt idx="286">
                  <c:v>17086</c:v>
                </c:pt>
                <c:pt idx="287">
                  <c:v>17086</c:v>
                </c:pt>
                <c:pt idx="288">
                  <c:v>17086</c:v>
                </c:pt>
                <c:pt idx="289">
                  <c:v>17086</c:v>
                </c:pt>
                <c:pt idx="290">
                  <c:v>17086</c:v>
                </c:pt>
                <c:pt idx="291">
                  <c:v>17086</c:v>
                </c:pt>
                <c:pt idx="292">
                  <c:v>17086</c:v>
                </c:pt>
                <c:pt idx="293">
                  <c:v>17086</c:v>
                </c:pt>
                <c:pt idx="294">
                  <c:v>17086</c:v>
                </c:pt>
                <c:pt idx="295">
                  <c:v>17086</c:v>
                </c:pt>
                <c:pt idx="296">
                  <c:v>17087</c:v>
                </c:pt>
                <c:pt idx="297">
                  <c:v>17087</c:v>
                </c:pt>
                <c:pt idx="298">
                  <c:v>17087</c:v>
                </c:pt>
                <c:pt idx="299">
                  <c:v>17087</c:v>
                </c:pt>
                <c:pt idx="300">
                  <c:v>17088</c:v>
                </c:pt>
                <c:pt idx="301">
                  <c:v>17088</c:v>
                </c:pt>
                <c:pt idx="302">
                  <c:v>17089</c:v>
                </c:pt>
                <c:pt idx="303">
                  <c:v>17089</c:v>
                </c:pt>
                <c:pt idx="304">
                  <c:v>17089</c:v>
                </c:pt>
                <c:pt idx="305">
                  <c:v>17089</c:v>
                </c:pt>
                <c:pt idx="306">
                  <c:v>17089</c:v>
                </c:pt>
                <c:pt idx="307">
                  <c:v>17089</c:v>
                </c:pt>
                <c:pt idx="308">
                  <c:v>17089</c:v>
                </c:pt>
                <c:pt idx="309">
                  <c:v>17090</c:v>
                </c:pt>
                <c:pt idx="310">
                  <c:v>17091</c:v>
                </c:pt>
                <c:pt idx="311">
                  <c:v>17091</c:v>
                </c:pt>
                <c:pt idx="312">
                  <c:v>17091</c:v>
                </c:pt>
                <c:pt idx="313">
                  <c:v>17092</c:v>
                </c:pt>
                <c:pt idx="314">
                  <c:v>17092</c:v>
                </c:pt>
                <c:pt idx="315">
                  <c:v>17092</c:v>
                </c:pt>
                <c:pt idx="316">
                  <c:v>17092</c:v>
                </c:pt>
                <c:pt idx="317">
                  <c:v>17092</c:v>
                </c:pt>
                <c:pt idx="318">
                  <c:v>17092</c:v>
                </c:pt>
                <c:pt idx="319">
                  <c:v>17092</c:v>
                </c:pt>
                <c:pt idx="320">
                  <c:v>17092</c:v>
                </c:pt>
                <c:pt idx="321">
                  <c:v>17092</c:v>
                </c:pt>
                <c:pt idx="322">
                  <c:v>17092</c:v>
                </c:pt>
                <c:pt idx="323">
                  <c:v>17093</c:v>
                </c:pt>
                <c:pt idx="324">
                  <c:v>17093</c:v>
                </c:pt>
                <c:pt idx="325">
                  <c:v>17093</c:v>
                </c:pt>
                <c:pt idx="326">
                  <c:v>17093</c:v>
                </c:pt>
                <c:pt idx="327">
                  <c:v>17093</c:v>
                </c:pt>
                <c:pt idx="328">
                  <c:v>17093</c:v>
                </c:pt>
                <c:pt idx="329">
                  <c:v>17094</c:v>
                </c:pt>
                <c:pt idx="330">
                  <c:v>17096</c:v>
                </c:pt>
                <c:pt idx="331">
                  <c:v>17096</c:v>
                </c:pt>
                <c:pt idx="332">
                  <c:v>17096</c:v>
                </c:pt>
                <c:pt idx="333">
                  <c:v>17096</c:v>
                </c:pt>
                <c:pt idx="334">
                  <c:v>17096</c:v>
                </c:pt>
                <c:pt idx="335">
                  <c:v>17096</c:v>
                </c:pt>
                <c:pt idx="336">
                  <c:v>17096</c:v>
                </c:pt>
                <c:pt idx="337">
                  <c:v>17096</c:v>
                </c:pt>
                <c:pt idx="338">
                  <c:v>17096</c:v>
                </c:pt>
                <c:pt idx="339">
                  <c:v>17096</c:v>
                </c:pt>
                <c:pt idx="340">
                  <c:v>17096</c:v>
                </c:pt>
                <c:pt idx="341">
                  <c:v>17097</c:v>
                </c:pt>
                <c:pt idx="342">
                  <c:v>17097</c:v>
                </c:pt>
                <c:pt idx="343">
                  <c:v>17097</c:v>
                </c:pt>
                <c:pt idx="344">
                  <c:v>17098</c:v>
                </c:pt>
                <c:pt idx="345">
                  <c:v>17098</c:v>
                </c:pt>
                <c:pt idx="346">
                  <c:v>17098</c:v>
                </c:pt>
                <c:pt idx="347">
                  <c:v>17098</c:v>
                </c:pt>
                <c:pt idx="348">
                  <c:v>17098</c:v>
                </c:pt>
                <c:pt idx="349">
                  <c:v>17098</c:v>
                </c:pt>
                <c:pt idx="350">
                  <c:v>17098</c:v>
                </c:pt>
                <c:pt idx="351">
                  <c:v>17098</c:v>
                </c:pt>
                <c:pt idx="352">
                  <c:v>17098</c:v>
                </c:pt>
                <c:pt idx="353">
                  <c:v>17098</c:v>
                </c:pt>
                <c:pt idx="354">
                  <c:v>17098</c:v>
                </c:pt>
                <c:pt idx="355">
                  <c:v>17098</c:v>
                </c:pt>
                <c:pt idx="356">
                  <c:v>17099</c:v>
                </c:pt>
                <c:pt idx="357">
                  <c:v>17099</c:v>
                </c:pt>
                <c:pt idx="358">
                  <c:v>17099</c:v>
                </c:pt>
                <c:pt idx="359">
                  <c:v>17100</c:v>
                </c:pt>
                <c:pt idx="360">
                  <c:v>17101</c:v>
                </c:pt>
                <c:pt idx="361">
                  <c:v>17102</c:v>
                </c:pt>
                <c:pt idx="362">
                  <c:v>17103</c:v>
                </c:pt>
                <c:pt idx="363">
                  <c:v>17103</c:v>
                </c:pt>
                <c:pt idx="364">
                  <c:v>17103</c:v>
                </c:pt>
                <c:pt idx="365">
                  <c:v>17108</c:v>
                </c:pt>
                <c:pt idx="366">
                  <c:v>17109</c:v>
                </c:pt>
                <c:pt idx="367">
                  <c:v>17110</c:v>
                </c:pt>
                <c:pt idx="368">
                  <c:v>17110</c:v>
                </c:pt>
                <c:pt idx="369">
                  <c:v>17110</c:v>
                </c:pt>
                <c:pt idx="370">
                  <c:v>17111</c:v>
                </c:pt>
                <c:pt idx="371">
                  <c:v>17113</c:v>
                </c:pt>
                <c:pt idx="372">
                  <c:v>17114</c:v>
                </c:pt>
                <c:pt idx="373">
                  <c:v>17115</c:v>
                </c:pt>
                <c:pt idx="374">
                  <c:v>17116</c:v>
                </c:pt>
                <c:pt idx="375">
                  <c:v>17116</c:v>
                </c:pt>
                <c:pt idx="376">
                  <c:v>17117</c:v>
                </c:pt>
                <c:pt idx="377">
                  <c:v>17117</c:v>
                </c:pt>
                <c:pt idx="378">
                  <c:v>17118</c:v>
                </c:pt>
                <c:pt idx="379">
                  <c:v>17118</c:v>
                </c:pt>
                <c:pt idx="380">
                  <c:v>17118</c:v>
                </c:pt>
                <c:pt idx="381">
                  <c:v>17118</c:v>
                </c:pt>
                <c:pt idx="382">
                  <c:v>17119</c:v>
                </c:pt>
                <c:pt idx="383">
                  <c:v>17119</c:v>
                </c:pt>
                <c:pt idx="384">
                  <c:v>17123</c:v>
                </c:pt>
                <c:pt idx="385">
                  <c:v>17127</c:v>
                </c:pt>
                <c:pt idx="386">
                  <c:v>17129</c:v>
                </c:pt>
                <c:pt idx="387">
                  <c:v>17129</c:v>
                </c:pt>
                <c:pt idx="388">
                  <c:v>17129</c:v>
                </c:pt>
                <c:pt idx="389">
                  <c:v>17130</c:v>
                </c:pt>
                <c:pt idx="390">
                  <c:v>17131</c:v>
                </c:pt>
                <c:pt idx="391">
                  <c:v>17136</c:v>
                </c:pt>
                <c:pt idx="392">
                  <c:v>17138</c:v>
                </c:pt>
                <c:pt idx="393">
                  <c:v>17145</c:v>
                </c:pt>
                <c:pt idx="394">
                  <c:v>17148</c:v>
                </c:pt>
                <c:pt idx="395">
                  <c:v>17151</c:v>
                </c:pt>
                <c:pt idx="396">
                  <c:v>17151</c:v>
                </c:pt>
                <c:pt idx="397">
                  <c:v>17151</c:v>
                </c:pt>
                <c:pt idx="398">
                  <c:v>17155</c:v>
                </c:pt>
                <c:pt idx="399">
                  <c:v>17160</c:v>
                </c:pt>
                <c:pt idx="400">
                  <c:v>17162</c:v>
                </c:pt>
                <c:pt idx="401">
                  <c:v>17163</c:v>
                </c:pt>
                <c:pt idx="402">
                  <c:v>17165</c:v>
                </c:pt>
                <c:pt idx="403">
                  <c:v>17166</c:v>
                </c:pt>
                <c:pt idx="404">
                  <c:v>17166</c:v>
                </c:pt>
                <c:pt idx="405">
                  <c:v>17168</c:v>
                </c:pt>
                <c:pt idx="406">
                  <c:v>17171</c:v>
                </c:pt>
                <c:pt idx="407">
                  <c:v>17172</c:v>
                </c:pt>
                <c:pt idx="408">
                  <c:v>17175</c:v>
                </c:pt>
                <c:pt idx="409">
                  <c:v>17182</c:v>
                </c:pt>
                <c:pt idx="410">
                  <c:v>17184</c:v>
                </c:pt>
                <c:pt idx="411">
                  <c:v>17185</c:v>
                </c:pt>
                <c:pt idx="412">
                  <c:v>17197</c:v>
                </c:pt>
                <c:pt idx="413">
                  <c:v>17205</c:v>
                </c:pt>
                <c:pt idx="414">
                  <c:v>17216</c:v>
                </c:pt>
                <c:pt idx="415">
                  <c:v>17223</c:v>
                </c:pt>
                <c:pt idx="416">
                  <c:v>17235</c:v>
                </c:pt>
                <c:pt idx="417">
                  <c:v>17235</c:v>
                </c:pt>
                <c:pt idx="418">
                  <c:v>17239</c:v>
                </c:pt>
                <c:pt idx="419">
                  <c:v>17259</c:v>
                </c:pt>
                <c:pt idx="420">
                  <c:v>17265</c:v>
                </c:pt>
                <c:pt idx="421">
                  <c:v>17283</c:v>
                </c:pt>
                <c:pt idx="422">
                  <c:v>17286</c:v>
                </c:pt>
                <c:pt idx="423">
                  <c:v>17294</c:v>
                </c:pt>
                <c:pt idx="424">
                  <c:v>17299</c:v>
                </c:pt>
                <c:pt idx="425">
                  <c:v>17303</c:v>
                </c:pt>
                <c:pt idx="426">
                  <c:v>17344</c:v>
                </c:pt>
                <c:pt idx="427">
                  <c:v>17370</c:v>
                </c:pt>
                <c:pt idx="428">
                  <c:v>17391</c:v>
                </c:pt>
                <c:pt idx="429">
                  <c:v>17416</c:v>
                </c:pt>
                <c:pt idx="430">
                  <c:v>17443</c:v>
                </c:pt>
                <c:pt idx="431">
                  <c:v>17456</c:v>
                </c:pt>
                <c:pt idx="432">
                  <c:v>17461</c:v>
                </c:pt>
                <c:pt idx="433">
                  <c:v>17515</c:v>
                </c:pt>
                <c:pt idx="434">
                  <c:v>17543</c:v>
                </c:pt>
                <c:pt idx="435">
                  <c:v>17574</c:v>
                </c:pt>
                <c:pt idx="436">
                  <c:v>17612</c:v>
                </c:pt>
                <c:pt idx="437">
                  <c:v>17646</c:v>
                </c:pt>
                <c:pt idx="438">
                  <c:v>17666</c:v>
                </c:pt>
                <c:pt idx="439">
                  <c:v>17680</c:v>
                </c:pt>
                <c:pt idx="440">
                  <c:v>17739</c:v>
                </c:pt>
                <c:pt idx="441">
                  <c:v>17774</c:v>
                </c:pt>
                <c:pt idx="442">
                  <c:v>17788</c:v>
                </c:pt>
                <c:pt idx="443">
                  <c:v>17831</c:v>
                </c:pt>
                <c:pt idx="444">
                  <c:v>17883</c:v>
                </c:pt>
                <c:pt idx="445">
                  <c:v>17896</c:v>
                </c:pt>
                <c:pt idx="446">
                  <c:v>17903</c:v>
                </c:pt>
                <c:pt idx="447">
                  <c:v>17977</c:v>
                </c:pt>
                <c:pt idx="448">
                  <c:v>18021</c:v>
                </c:pt>
                <c:pt idx="449">
                  <c:v>18071</c:v>
                </c:pt>
                <c:pt idx="450">
                  <c:v>18120</c:v>
                </c:pt>
                <c:pt idx="451">
                  <c:v>18171</c:v>
                </c:pt>
                <c:pt idx="452">
                  <c:v>18193</c:v>
                </c:pt>
                <c:pt idx="453">
                  <c:v>18200</c:v>
                </c:pt>
                <c:pt idx="454">
                  <c:v>18244</c:v>
                </c:pt>
                <c:pt idx="455">
                  <c:v>18292</c:v>
                </c:pt>
                <c:pt idx="456">
                  <c:v>18335</c:v>
                </c:pt>
                <c:pt idx="457">
                  <c:v>18368</c:v>
                </c:pt>
                <c:pt idx="458">
                  <c:v>18398</c:v>
                </c:pt>
                <c:pt idx="459">
                  <c:v>18419</c:v>
                </c:pt>
                <c:pt idx="460">
                  <c:v>18429</c:v>
                </c:pt>
                <c:pt idx="461">
                  <c:v>18480</c:v>
                </c:pt>
                <c:pt idx="462">
                  <c:v>18516</c:v>
                </c:pt>
                <c:pt idx="463">
                  <c:v>18551</c:v>
                </c:pt>
                <c:pt idx="464">
                  <c:v>18577</c:v>
                </c:pt>
                <c:pt idx="465">
                  <c:v>18597</c:v>
                </c:pt>
                <c:pt idx="466">
                  <c:v>18610</c:v>
                </c:pt>
                <c:pt idx="467">
                  <c:v>18619</c:v>
                </c:pt>
                <c:pt idx="468">
                  <c:v>18654</c:v>
                </c:pt>
                <c:pt idx="469">
                  <c:v>18691</c:v>
                </c:pt>
                <c:pt idx="470">
                  <c:v>18719</c:v>
                </c:pt>
                <c:pt idx="471">
                  <c:v>18737</c:v>
                </c:pt>
                <c:pt idx="472">
                  <c:v>18753</c:v>
                </c:pt>
                <c:pt idx="473">
                  <c:v>18761</c:v>
                </c:pt>
                <c:pt idx="474">
                  <c:v>18771</c:v>
                </c:pt>
                <c:pt idx="475">
                  <c:v>18799</c:v>
                </c:pt>
                <c:pt idx="476">
                  <c:v>18812</c:v>
                </c:pt>
                <c:pt idx="477">
                  <c:v>18821</c:v>
                </c:pt>
                <c:pt idx="478">
                  <c:v>18825</c:v>
                </c:pt>
                <c:pt idx="479">
                  <c:v>18832</c:v>
                </c:pt>
                <c:pt idx="480">
                  <c:v>18835</c:v>
                </c:pt>
                <c:pt idx="481">
                  <c:v>18840</c:v>
                </c:pt>
                <c:pt idx="482">
                  <c:v>18850</c:v>
                </c:pt>
                <c:pt idx="483">
                  <c:v>18867</c:v>
                </c:pt>
                <c:pt idx="484">
                  <c:v>18877</c:v>
                </c:pt>
                <c:pt idx="485">
                  <c:v>18887</c:v>
                </c:pt>
                <c:pt idx="486">
                  <c:v>18893</c:v>
                </c:pt>
                <c:pt idx="487">
                  <c:v>18894</c:v>
                </c:pt>
                <c:pt idx="488">
                  <c:v>18898</c:v>
                </c:pt>
                <c:pt idx="489">
                  <c:v>18919</c:v>
                </c:pt>
                <c:pt idx="490">
                  <c:v>18933</c:v>
                </c:pt>
                <c:pt idx="491">
                  <c:v>18938</c:v>
                </c:pt>
                <c:pt idx="492">
                  <c:v>18947</c:v>
                </c:pt>
                <c:pt idx="493">
                  <c:v>18958</c:v>
                </c:pt>
                <c:pt idx="494">
                  <c:v>18961</c:v>
                </c:pt>
                <c:pt idx="495">
                  <c:v>18964</c:v>
                </c:pt>
                <c:pt idx="496">
                  <c:v>18983</c:v>
                </c:pt>
                <c:pt idx="497">
                  <c:v>18994</c:v>
                </c:pt>
                <c:pt idx="498">
                  <c:v>19003</c:v>
                </c:pt>
                <c:pt idx="499">
                  <c:v>19016</c:v>
                </c:pt>
                <c:pt idx="500">
                  <c:v>19028</c:v>
                </c:pt>
                <c:pt idx="501">
                  <c:v>19034</c:v>
                </c:pt>
                <c:pt idx="502">
                  <c:v>19045</c:v>
                </c:pt>
                <c:pt idx="503">
                  <c:v>19092</c:v>
                </c:pt>
                <c:pt idx="504">
                  <c:v>19127</c:v>
                </c:pt>
                <c:pt idx="505">
                  <c:v>19170</c:v>
                </c:pt>
                <c:pt idx="506">
                  <c:v>19218</c:v>
                </c:pt>
                <c:pt idx="507">
                  <c:v>19286</c:v>
                </c:pt>
                <c:pt idx="508">
                  <c:v>19306</c:v>
                </c:pt>
                <c:pt idx="509">
                  <c:v>19322</c:v>
                </c:pt>
                <c:pt idx="510">
                  <c:v>19417</c:v>
                </c:pt>
                <c:pt idx="511">
                  <c:v>19521</c:v>
                </c:pt>
                <c:pt idx="512">
                  <c:v>19620</c:v>
                </c:pt>
                <c:pt idx="513">
                  <c:v>19680</c:v>
                </c:pt>
                <c:pt idx="514">
                  <c:v>19754</c:v>
                </c:pt>
                <c:pt idx="515">
                  <c:v>19784</c:v>
                </c:pt>
                <c:pt idx="516">
                  <c:v>19815</c:v>
                </c:pt>
                <c:pt idx="517">
                  <c:v>19932</c:v>
                </c:pt>
                <c:pt idx="518">
                  <c:v>20049</c:v>
                </c:pt>
                <c:pt idx="519">
                  <c:v>20132</c:v>
                </c:pt>
                <c:pt idx="520">
                  <c:v>20203</c:v>
                </c:pt>
                <c:pt idx="521">
                  <c:v>20287</c:v>
                </c:pt>
                <c:pt idx="522">
                  <c:v>20319</c:v>
                </c:pt>
                <c:pt idx="523">
                  <c:v>20344</c:v>
                </c:pt>
                <c:pt idx="524">
                  <c:v>20477</c:v>
                </c:pt>
                <c:pt idx="525">
                  <c:v>20569</c:v>
                </c:pt>
                <c:pt idx="526">
                  <c:v>20633</c:v>
                </c:pt>
                <c:pt idx="527">
                  <c:v>20702</c:v>
                </c:pt>
                <c:pt idx="528">
                  <c:v>20754</c:v>
                </c:pt>
                <c:pt idx="529">
                  <c:v>20777</c:v>
                </c:pt>
                <c:pt idx="530">
                  <c:v>20804</c:v>
                </c:pt>
                <c:pt idx="531">
                  <c:v>20894</c:v>
                </c:pt>
                <c:pt idx="532">
                  <c:v>20968</c:v>
                </c:pt>
                <c:pt idx="533">
                  <c:v>21037</c:v>
                </c:pt>
                <c:pt idx="534">
                  <c:v>21078</c:v>
                </c:pt>
                <c:pt idx="535">
                  <c:v>21108</c:v>
                </c:pt>
                <c:pt idx="536">
                  <c:v>21132</c:v>
                </c:pt>
                <c:pt idx="537">
                  <c:v>21143</c:v>
                </c:pt>
                <c:pt idx="538">
                  <c:v>21208</c:v>
                </c:pt>
                <c:pt idx="539">
                  <c:v>21247</c:v>
                </c:pt>
                <c:pt idx="540">
                  <c:v>21288</c:v>
                </c:pt>
                <c:pt idx="541">
                  <c:v>21321</c:v>
                </c:pt>
                <c:pt idx="542">
                  <c:v>21347</c:v>
                </c:pt>
                <c:pt idx="543">
                  <c:v>21358</c:v>
                </c:pt>
                <c:pt idx="544">
                  <c:v>21370</c:v>
                </c:pt>
                <c:pt idx="545">
                  <c:v>21412</c:v>
                </c:pt>
                <c:pt idx="546">
                  <c:v>21443</c:v>
                </c:pt>
                <c:pt idx="547">
                  <c:v>21469</c:v>
                </c:pt>
                <c:pt idx="548">
                  <c:v>21488</c:v>
                </c:pt>
                <c:pt idx="549">
                  <c:v>21507</c:v>
                </c:pt>
                <c:pt idx="550">
                  <c:v>21524</c:v>
                </c:pt>
                <c:pt idx="551">
                  <c:v>21534</c:v>
                </c:pt>
                <c:pt idx="552">
                  <c:v>21576</c:v>
                </c:pt>
                <c:pt idx="553">
                  <c:v>21608</c:v>
                </c:pt>
                <c:pt idx="554">
                  <c:v>21643</c:v>
                </c:pt>
                <c:pt idx="555">
                  <c:v>21658</c:v>
                </c:pt>
                <c:pt idx="556">
                  <c:v>216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3C3-4558-95C0-65D81E5CAFC4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2:$A$558</c:f>
              <c:numCache>
                <c:formatCode>m/d/yyyy</c:formatCode>
                <c:ptCount val="55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</c:numCache>
            </c:numRef>
          </c:cat>
          <c:val>
            <c:numRef>
              <c:f>List1!$D$2:$D$558</c:f>
              <c:numCache>
                <c:formatCode>General</c:formatCode>
                <c:ptCount val="557"/>
                <c:pt idx="0">
                  <c:v>9</c:v>
                </c:pt>
                <c:pt idx="1">
                  <c:v>9</c:v>
                </c:pt>
                <c:pt idx="2">
                  <c:v>9</c:v>
                </c:pt>
                <c:pt idx="3">
                  <c:v>13</c:v>
                </c:pt>
                <c:pt idx="4">
                  <c:v>13</c:v>
                </c:pt>
                <c:pt idx="5">
                  <c:v>13</c:v>
                </c:pt>
                <c:pt idx="6">
                  <c:v>13</c:v>
                </c:pt>
                <c:pt idx="7">
                  <c:v>14</c:v>
                </c:pt>
                <c:pt idx="8">
                  <c:v>17</c:v>
                </c:pt>
                <c:pt idx="9">
                  <c:v>18</c:v>
                </c:pt>
                <c:pt idx="10">
                  <c:v>19</c:v>
                </c:pt>
                <c:pt idx="11">
                  <c:v>24</c:v>
                </c:pt>
                <c:pt idx="12">
                  <c:v>25</c:v>
                </c:pt>
                <c:pt idx="13">
                  <c:v>30</c:v>
                </c:pt>
                <c:pt idx="14">
                  <c:v>32</c:v>
                </c:pt>
                <c:pt idx="15">
                  <c:v>34</c:v>
                </c:pt>
                <c:pt idx="16">
                  <c:v>36</c:v>
                </c:pt>
                <c:pt idx="17">
                  <c:v>40</c:v>
                </c:pt>
                <c:pt idx="18">
                  <c:v>43</c:v>
                </c:pt>
                <c:pt idx="19">
                  <c:v>51</c:v>
                </c:pt>
                <c:pt idx="20">
                  <c:v>57</c:v>
                </c:pt>
                <c:pt idx="21">
                  <c:v>65</c:v>
                </c:pt>
                <c:pt idx="22">
                  <c:v>67</c:v>
                </c:pt>
                <c:pt idx="23">
                  <c:v>74</c:v>
                </c:pt>
                <c:pt idx="24">
                  <c:v>87</c:v>
                </c:pt>
                <c:pt idx="25">
                  <c:v>99</c:v>
                </c:pt>
                <c:pt idx="26">
                  <c:v>106</c:v>
                </c:pt>
                <c:pt idx="27">
                  <c:v>115</c:v>
                </c:pt>
                <c:pt idx="28">
                  <c:v>146</c:v>
                </c:pt>
                <c:pt idx="29">
                  <c:v>184</c:v>
                </c:pt>
                <c:pt idx="30">
                  <c:v>245</c:v>
                </c:pt>
                <c:pt idx="31">
                  <c:v>405</c:v>
                </c:pt>
                <c:pt idx="32">
                  <c:v>474</c:v>
                </c:pt>
                <c:pt idx="33">
                  <c:v>560</c:v>
                </c:pt>
                <c:pt idx="34">
                  <c:v>827</c:v>
                </c:pt>
                <c:pt idx="35">
                  <c:v>960</c:v>
                </c:pt>
                <c:pt idx="36">
                  <c:v>1048</c:v>
                </c:pt>
                <c:pt idx="37">
                  <c:v>1215</c:v>
                </c:pt>
                <c:pt idx="38">
                  <c:v>1447</c:v>
                </c:pt>
                <c:pt idx="39">
                  <c:v>1528</c:v>
                </c:pt>
                <c:pt idx="40">
                  <c:v>1567</c:v>
                </c:pt>
                <c:pt idx="41">
                  <c:v>1884</c:v>
                </c:pt>
                <c:pt idx="42">
                  <c:v>2272</c:v>
                </c:pt>
                <c:pt idx="43">
                  <c:v>2653</c:v>
                </c:pt>
                <c:pt idx="44">
                  <c:v>3069</c:v>
                </c:pt>
                <c:pt idx="45">
                  <c:v>3492</c:v>
                </c:pt>
                <c:pt idx="46">
                  <c:v>3758</c:v>
                </c:pt>
                <c:pt idx="47">
                  <c:v>3849</c:v>
                </c:pt>
                <c:pt idx="48">
                  <c:v>4300</c:v>
                </c:pt>
                <c:pt idx="49">
                  <c:v>4706</c:v>
                </c:pt>
                <c:pt idx="50">
                  <c:v>5307</c:v>
                </c:pt>
                <c:pt idx="51">
                  <c:v>5787</c:v>
                </c:pt>
                <c:pt idx="52">
                  <c:v>6559</c:v>
                </c:pt>
                <c:pt idx="53">
                  <c:v>6978</c:v>
                </c:pt>
                <c:pt idx="54">
                  <c:v>7267</c:v>
                </c:pt>
                <c:pt idx="55">
                  <c:v>8045</c:v>
                </c:pt>
                <c:pt idx="56">
                  <c:v>9004</c:v>
                </c:pt>
                <c:pt idx="57">
                  <c:v>9409</c:v>
                </c:pt>
                <c:pt idx="58">
                  <c:v>10443</c:v>
                </c:pt>
                <c:pt idx="59">
                  <c:v>11380</c:v>
                </c:pt>
                <c:pt idx="60">
                  <c:v>11906</c:v>
                </c:pt>
                <c:pt idx="61">
                  <c:v>12243</c:v>
                </c:pt>
                <c:pt idx="62">
                  <c:v>12898</c:v>
                </c:pt>
                <c:pt idx="63">
                  <c:v>13492</c:v>
                </c:pt>
                <c:pt idx="64">
                  <c:v>14265</c:v>
                </c:pt>
                <c:pt idx="65">
                  <c:v>15100</c:v>
                </c:pt>
                <c:pt idx="66">
                  <c:v>15847</c:v>
                </c:pt>
                <c:pt idx="67">
                  <c:v>16185</c:v>
                </c:pt>
                <c:pt idx="68">
                  <c:v>16317</c:v>
                </c:pt>
                <c:pt idx="69">
                  <c:v>16733</c:v>
                </c:pt>
                <c:pt idx="70">
                  <c:v>17333</c:v>
                </c:pt>
                <c:pt idx="71">
                  <c:v>18292</c:v>
                </c:pt>
                <c:pt idx="72">
                  <c:v>19046</c:v>
                </c:pt>
                <c:pt idx="73">
                  <c:v>19743</c:v>
                </c:pt>
                <c:pt idx="74">
                  <c:v>20007</c:v>
                </c:pt>
                <c:pt idx="75">
                  <c:v>20211</c:v>
                </c:pt>
                <c:pt idx="76">
                  <c:v>20803</c:v>
                </c:pt>
                <c:pt idx="77">
                  <c:v>20995</c:v>
                </c:pt>
                <c:pt idx="78">
                  <c:v>21437</c:v>
                </c:pt>
                <c:pt idx="79">
                  <c:v>21851</c:v>
                </c:pt>
                <c:pt idx="80">
                  <c:v>22223</c:v>
                </c:pt>
                <c:pt idx="81">
                  <c:v>22359</c:v>
                </c:pt>
                <c:pt idx="82">
                  <c:v>22472</c:v>
                </c:pt>
                <c:pt idx="83">
                  <c:v>23009</c:v>
                </c:pt>
                <c:pt idx="84">
                  <c:v>23322</c:v>
                </c:pt>
                <c:pt idx="85">
                  <c:v>23551</c:v>
                </c:pt>
                <c:pt idx="86">
                  <c:v>23810</c:v>
                </c:pt>
                <c:pt idx="87">
                  <c:v>24034</c:v>
                </c:pt>
                <c:pt idx="88">
                  <c:v>24135</c:v>
                </c:pt>
                <c:pt idx="89">
                  <c:v>24180</c:v>
                </c:pt>
                <c:pt idx="90">
                  <c:v>24508</c:v>
                </c:pt>
                <c:pt idx="91">
                  <c:v>24724</c:v>
                </c:pt>
                <c:pt idx="92">
                  <c:v>24935</c:v>
                </c:pt>
                <c:pt idx="93">
                  <c:v>25130</c:v>
                </c:pt>
                <c:pt idx="94">
                  <c:v>25372</c:v>
                </c:pt>
                <c:pt idx="95">
                  <c:v>25503</c:v>
                </c:pt>
                <c:pt idx="96">
                  <c:v>25554</c:v>
                </c:pt>
                <c:pt idx="97">
                  <c:v>25820</c:v>
                </c:pt>
                <c:pt idx="98">
                  <c:v>25991</c:v>
                </c:pt>
                <c:pt idx="99">
                  <c:v>26199</c:v>
                </c:pt>
                <c:pt idx="100">
                  <c:v>26347</c:v>
                </c:pt>
                <c:pt idx="101">
                  <c:v>26667</c:v>
                </c:pt>
                <c:pt idx="102">
                  <c:v>26755</c:v>
                </c:pt>
                <c:pt idx="103">
                  <c:v>26823</c:v>
                </c:pt>
                <c:pt idx="104">
                  <c:v>27115</c:v>
                </c:pt>
                <c:pt idx="105">
                  <c:v>27322</c:v>
                </c:pt>
                <c:pt idx="106">
                  <c:v>27520</c:v>
                </c:pt>
                <c:pt idx="107">
                  <c:v>27646</c:v>
                </c:pt>
                <c:pt idx="108">
                  <c:v>27958</c:v>
                </c:pt>
                <c:pt idx="109">
                  <c:v>28051</c:v>
                </c:pt>
                <c:pt idx="110">
                  <c:v>28102</c:v>
                </c:pt>
                <c:pt idx="111">
                  <c:v>28450</c:v>
                </c:pt>
                <c:pt idx="112">
                  <c:v>28746</c:v>
                </c:pt>
                <c:pt idx="113">
                  <c:v>29000</c:v>
                </c:pt>
                <c:pt idx="114">
                  <c:v>29051</c:v>
                </c:pt>
                <c:pt idx="115">
                  <c:v>29174</c:v>
                </c:pt>
                <c:pt idx="116">
                  <c:v>29308</c:v>
                </c:pt>
                <c:pt idx="117">
                  <c:v>29455</c:v>
                </c:pt>
                <c:pt idx="118">
                  <c:v>29819</c:v>
                </c:pt>
                <c:pt idx="119">
                  <c:v>30157</c:v>
                </c:pt>
                <c:pt idx="120">
                  <c:v>30421</c:v>
                </c:pt>
                <c:pt idx="121">
                  <c:v>30651</c:v>
                </c:pt>
                <c:pt idx="122">
                  <c:v>30753</c:v>
                </c:pt>
                <c:pt idx="123">
                  <c:v>30882</c:v>
                </c:pt>
                <c:pt idx="124">
                  <c:v>30965</c:v>
                </c:pt>
                <c:pt idx="125">
                  <c:v>31542</c:v>
                </c:pt>
                <c:pt idx="126">
                  <c:v>31849</c:v>
                </c:pt>
                <c:pt idx="127">
                  <c:v>32135</c:v>
                </c:pt>
                <c:pt idx="128">
                  <c:v>32479</c:v>
                </c:pt>
                <c:pt idx="129">
                  <c:v>32803</c:v>
                </c:pt>
                <c:pt idx="130">
                  <c:v>32929</c:v>
                </c:pt>
                <c:pt idx="131">
                  <c:v>32993</c:v>
                </c:pt>
                <c:pt idx="132">
                  <c:v>33485</c:v>
                </c:pt>
                <c:pt idx="133">
                  <c:v>33716</c:v>
                </c:pt>
                <c:pt idx="134">
                  <c:v>34004</c:v>
                </c:pt>
                <c:pt idx="135">
                  <c:v>34161</c:v>
                </c:pt>
                <c:pt idx="136">
                  <c:v>34324</c:v>
                </c:pt>
                <c:pt idx="137">
                  <c:v>34395</c:v>
                </c:pt>
                <c:pt idx="138">
                  <c:v>34471</c:v>
                </c:pt>
                <c:pt idx="139">
                  <c:v>34772</c:v>
                </c:pt>
                <c:pt idx="140">
                  <c:v>34933</c:v>
                </c:pt>
                <c:pt idx="141">
                  <c:v>35153</c:v>
                </c:pt>
                <c:pt idx="142">
                  <c:v>35331</c:v>
                </c:pt>
                <c:pt idx="143">
                  <c:v>35533</c:v>
                </c:pt>
                <c:pt idx="144">
                  <c:v>35615</c:v>
                </c:pt>
                <c:pt idx="145">
                  <c:v>35655</c:v>
                </c:pt>
                <c:pt idx="146">
                  <c:v>35835</c:v>
                </c:pt>
                <c:pt idx="147">
                  <c:v>35957</c:v>
                </c:pt>
                <c:pt idx="148">
                  <c:v>36113</c:v>
                </c:pt>
                <c:pt idx="149">
                  <c:v>36217</c:v>
                </c:pt>
                <c:pt idx="150">
                  <c:v>36306</c:v>
                </c:pt>
                <c:pt idx="151">
                  <c:v>36386</c:v>
                </c:pt>
                <c:pt idx="152">
                  <c:v>36412</c:v>
                </c:pt>
                <c:pt idx="153">
                  <c:v>36604</c:v>
                </c:pt>
                <c:pt idx="154">
                  <c:v>36779</c:v>
                </c:pt>
                <c:pt idx="155">
                  <c:v>36943</c:v>
                </c:pt>
                <c:pt idx="156">
                  <c:v>37075</c:v>
                </c:pt>
                <c:pt idx="157">
                  <c:v>37216</c:v>
                </c:pt>
                <c:pt idx="158">
                  <c:v>37274</c:v>
                </c:pt>
                <c:pt idx="159">
                  <c:v>37308</c:v>
                </c:pt>
                <c:pt idx="160">
                  <c:v>37450</c:v>
                </c:pt>
                <c:pt idx="161">
                  <c:v>37538</c:v>
                </c:pt>
                <c:pt idx="162">
                  <c:v>37640</c:v>
                </c:pt>
                <c:pt idx="163">
                  <c:v>37752</c:v>
                </c:pt>
                <c:pt idx="164">
                  <c:v>37844</c:v>
                </c:pt>
                <c:pt idx="165">
                  <c:v>37868</c:v>
                </c:pt>
                <c:pt idx="166">
                  <c:v>37901</c:v>
                </c:pt>
                <c:pt idx="167">
                  <c:v>38006</c:v>
                </c:pt>
                <c:pt idx="168">
                  <c:v>38059</c:v>
                </c:pt>
                <c:pt idx="169">
                  <c:v>38126</c:v>
                </c:pt>
                <c:pt idx="170">
                  <c:v>38191</c:v>
                </c:pt>
                <c:pt idx="171">
                  <c:v>38263</c:v>
                </c:pt>
                <c:pt idx="172">
                  <c:v>38290</c:v>
                </c:pt>
                <c:pt idx="173">
                  <c:v>38321</c:v>
                </c:pt>
                <c:pt idx="174">
                  <c:v>38495</c:v>
                </c:pt>
                <c:pt idx="175">
                  <c:v>38580</c:v>
                </c:pt>
                <c:pt idx="176">
                  <c:v>38651</c:v>
                </c:pt>
                <c:pt idx="177">
                  <c:v>38733</c:v>
                </c:pt>
                <c:pt idx="178">
                  <c:v>38830</c:v>
                </c:pt>
                <c:pt idx="179">
                  <c:v>38853</c:v>
                </c:pt>
                <c:pt idx="180">
                  <c:v>38866</c:v>
                </c:pt>
                <c:pt idx="181">
                  <c:v>39012</c:v>
                </c:pt>
                <c:pt idx="182">
                  <c:v>39085</c:v>
                </c:pt>
                <c:pt idx="183">
                  <c:v>39186</c:v>
                </c:pt>
                <c:pt idx="184">
                  <c:v>39245</c:v>
                </c:pt>
                <c:pt idx="185">
                  <c:v>39305</c:v>
                </c:pt>
                <c:pt idx="186">
                  <c:v>39326</c:v>
                </c:pt>
                <c:pt idx="187">
                  <c:v>39346</c:v>
                </c:pt>
                <c:pt idx="188">
                  <c:v>39439</c:v>
                </c:pt>
                <c:pt idx="189">
                  <c:v>39591</c:v>
                </c:pt>
                <c:pt idx="190">
                  <c:v>39686</c:v>
                </c:pt>
                <c:pt idx="191">
                  <c:v>39731</c:v>
                </c:pt>
                <c:pt idx="192">
                  <c:v>39786</c:v>
                </c:pt>
                <c:pt idx="193">
                  <c:v>39807</c:v>
                </c:pt>
                <c:pt idx="194">
                  <c:v>39821</c:v>
                </c:pt>
                <c:pt idx="195">
                  <c:v>39894</c:v>
                </c:pt>
                <c:pt idx="196">
                  <c:v>39943</c:v>
                </c:pt>
                <c:pt idx="197">
                  <c:v>39982</c:v>
                </c:pt>
                <c:pt idx="198">
                  <c:v>40035</c:v>
                </c:pt>
                <c:pt idx="199">
                  <c:v>40077</c:v>
                </c:pt>
                <c:pt idx="200">
                  <c:v>40089</c:v>
                </c:pt>
                <c:pt idx="201">
                  <c:v>40098</c:v>
                </c:pt>
                <c:pt idx="202">
                  <c:v>40150</c:v>
                </c:pt>
                <c:pt idx="203">
                  <c:v>40200</c:v>
                </c:pt>
                <c:pt idx="204">
                  <c:v>40233</c:v>
                </c:pt>
                <c:pt idx="205">
                  <c:v>40276</c:v>
                </c:pt>
                <c:pt idx="206">
                  <c:v>40301</c:v>
                </c:pt>
                <c:pt idx="207">
                  <c:v>40307</c:v>
                </c:pt>
                <c:pt idx="208">
                  <c:v>40312</c:v>
                </c:pt>
                <c:pt idx="209">
                  <c:v>40359</c:v>
                </c:pt>
                <c:pt idx="210">
                  <c:v>40392</c:v>
                </c:pt>
                <c:pt idx="211">
                  <c:v>40417</c:v>
                </c:pt>
                <c:pt idx="212">
                  <c:v>40441</c:v>
                </c:pt>
                <c:pt idx="213">
                  <c:v>40450</c:v>
                </c:pt>
                <c:pt idx="214">
                  <c:v>40458</c:v>
                </c:pt>
                <c:pt idx="215">
                  <c:v>40462</c:v>
                </c:pt>
                <c:pt idx="216">
                  <c:v>40471</c:v>
                </c:pt>
                <c:pt idx="217">
                  <c:v>40498</c:v>
                </c:pt>
                <c:pt idx="218">
                  <c:v>40535</c:v>
                </c:pt>
                <c:pt idx="219">
                  <c:v>40554</c:v>
                </c:pt>
                <c:pt idx="220">
                  <c:v>40565</c:v>
                </c:pt>
                <c:pt idx="221">
                  <c:v>40572</c:v>
                </c:pt>
                <c:pt idx="222">
                  <c:v>40573</c:v>
                </c:pt>
                <c:pt idx="223">
                  <c:v>40584</c:v>
                </c:pt>
                <c:pt idx="224">
                  <c:v>40595</c:v>
                </c:pt>
                <c:pt idx="225">
                  <c:v>40604</c:v>
                </c:pt>
                <c:pt idx="226">
                  <c:v>40615</c:v>
                </c:pt>
                <c:pt idx="227">
                  <c:v>40623</c:v>
                </c:pt>
                <c:pt idx="228">
                  <c:v>40625</c:v>
                </c:pt>
                <c:pt idx="229">
                  <c:v>40628</c:v>
                </c:pt>
                <c:pt idx="230">
                  <c:v>40647</c:v>
                </c:pt>
                <c:pt idx="231">
                  <c:v>40659</c:v>
                </c:pt>
                <c:pt idx="232">
                  <c:v>40669</c:v>
                </c:pt>
                <c:pt idx="233">
                  <c:v>40692</c:v>
                </c:pt>
                <c:pt idx="234">
                  <c:v>40703</c:v>
                </c:pt>
                <c:pt idx="235">
                  <c:v>40705</c:v>
                </c:pt>
                <c:pt idx="236">
                  <c:v>40705</c:v>
                </c:pt>
                <c:pt idx="237">
                  <c:v>40715</c:v>
                </c:pt>
                <c:pt idx="238">
                  <c:v>40728</c:v>
                </c:pt>
                <c:pt idx="239">
                  <c:v>40733</c:v>
                </c:pt>
                <c:pt idx="240">
                  <c:v>40738</c:v>
                </c:pt>
                <c:pt idx="241">
                  <c:v>40745</c:v>
                </c:pt>
                <c:pt idx="242">
                  <c:v>40745</c:v>
                </c:pt>
                <c:pt idx="243">
                  <c:v>40746</c:v>
                </c:pt>
                <c:pt idx="244">
                  <c:v>40752</c:v>
                </c:pt>
                <c:pt idx="245">
                  <c:v>40754</c:v>
                </c:pt>
                <c:pt idx="246">
                  <c:v>40758</c:v>
                </c:pt>
                <c:pt idx="247">
                  <c:v>40764</c:v>
                </c:pt>
                <c:pt idx="248">
                  <c:v>40768</c:v>
                </c:pt>
                <c:pt idx="249">
                  <c:v>40770</c:v>
                </c:pt>
                <c:pt idx="250">
                  <c:v>40773</c:v>
                </c:pt>
                <c:pt idx="251">
                  <c:v>40781</c:v>
                </c:pt>
                <c:pt idx="252">
                  <c:v>40787</c:v>
                </c:pt>
                <c:pt idx="253">
                  <c:v>40787</c:v>
                </c:pt>
                <c:pt idx="254">
                  <c:v>40792</c:v>
                </c:pt>
                <c:pt idx="255">
                  <c:v>40798</c:v>
                </c:pt>
                <c:pt idx="256">
                  <c:v>40799</c:v>
                </c:pt>
                <c:pt idx="257">
                  <c:v>40799</c:v>
                </c:pt>
                <c:pt idx="258">
                  <c:v>40808</c:v>
                </c:pt>
                <c:pt idx="259">
                  <c:v>40813</c:v>
                </c:pt>
                <c:pt idx="260">
                  <c:v>40817</c:v>
                </c:pt>
                <c:pt idx="261">
                  <c:v>40820</c:v>
                </c:pt>
                <c:pt idx="262">
                  <c:v>40821</c:v>
                </c:pt>
                <c:pt idx="263">
                  <c:v>40821</c:v>
                </c:pt>
                <c:pt idx="264">
                  <c:v>40821</c:v>
                </c:pt>
                <c:pt idx="265">
                  <c:v>40825</c:v>
                </c:pt>
                <c:pt idx="266">
                  <c:v>40826</c:v>
                </c:pt>
                <c:pt idx="267">
                  <c:v>40827</c:v>
                </c:pt>
                <c:pt idx="268">
                  <c:v>40829</c:v>
                </c:pt>
                <c:pt idx="269">
                  <c:v>40829</c:v>
                </c:pt>
                <c:pt idx="270">
                  <c:v>40829</c:v>
                </c:pt>
                <c:pt idx="271">
                  <c:v>40829</c:v>
                </c:pt>
                <c:pt idx="272">
                  <c:v>40831</c:v>
                </c:pt>
                <c:pt idx="273">
                  <c:v>40831</c:v>
                </c:pt>
                <c:pt idx="274">
                  <c:v>40834</c:v>
                </c:pt>
                <c:pt idx="275">
                  <c:v>40837</c:v>
                </c:pt>
                <c:pt idx="276">
                  <c:v>40837</c:v>
                </c:pt>
                <c:pt idx="277">
                  <c:v>40837</c:v>
                </c:pt>
                <c:pt idx="278">
                  <c:v>40837</c:v>
                </c:pt>
                <c:pt idx="279">
                  <c:v>40838</c:v>
                </c:pt>
                <c:pt idx="280">
                  <c:v>40838</c:v>
                </c:pt>
                <c:pt idx="281">
                  <c:v>40838</c:v>
                </c:pt>
                <c:pt idx="282">
                  <c:v>40838</c:v>
                </c:pt>
                <c:pt idx="283">
                  <c:v>40839</c:v>
                </c:pt>
                <c:pt idx="284">
                  <c:v>40840</c:v>
                </c:pt>
                <c:pt idx="285">
                  <c:v>40840</c:v>
                </c:pt>
                <c:pt idx="286">
                  <c:v>40840</c:v>
                </c:pt>
                <c:pt idx="287">
                  <c:v>40840</c:v>
                </c:pt>
                <c:pt idx="288">
                  <c:v>40840</c:v>
                </c:pt>
                <c:pt idx="289">
                  <c:v>40841</c:v>
                </c:pt>
                <c:pt idx="290">
                  <c:v>40841</c:v>
                </c:pt>
                <c:pt idx="291">
                  <c:v>40841</c:v>
                </c:pt>
                <c:pt idx="292">
                  <c:v>40841</c:v>
                </c:pt>
                <c:pt idx="293">
                  <c:v>40841</c:v>
                </c:pt>
                <c:pt idx="294">
                  <c:v>40841</c:v>
                </c:pt>
                <c:pt idx="295">
                  <c:v>40842</c:v>
                </c:pt>
                <c:pt idx="296">
                  <c:v>40844</c:v>
                </c:pt>
                <c:pt idx="297">
                  <c:v>40844</c:v>
                </c:pt>
                <c:pt idx="298">
                  <c:v>40844</c:v>
                </c:pt>
                <c:pt idx="299">
                  <c:v>40844</c:v>
                </c:pt>
                <c:pt idx="300">
                  <c:v>40845</c:v>
                </c:pt>
                <c:pt idx="301">
                  <c:v>40845</c:v>
                </c:pt>
                <c:pt idx="302">
                  <c:v>40846</c:v>
                </c:pt>
                <c:pt idx="303">
                  <c:v>40847</c:v>
                </c:pt>
                <c:pt idx="304">
                  <c:v>40847</c:v>
                </c:pt>
                <c:pt idx="305">
                  <c:v>40847</c:v>
                </c:pt>
                <c:pt idx="306">
                  <c:v>40848</c:v>
                </c:pt>
                <c:pt idx="307">
                  <c:v>40848</c:v>
                </c:pt>
                <c:pt idx="308">
                  <c:v>40849</c:v>
                </c:pt>
                <c:pt idx="309">
                  <c:v>40850</c:v>
                </c:pt>
                <c:pt idx="310">
                  <c:v>40852</c:v>
                </c:pt>
                <c:pt idx="311">
                  <c:v>40852</c:v>
                </c:pt>
                <c:pt idx="312">
                  <c:v>40852</c:v>
                </c:pt>
                <c:pt idx="313">
                  <c:v>40853</c:v>
                </c:pt>
                <c:pt idx="314">
                  <c:v>40853</c:v>
                </c:pt>
                <c:pt idx="315">
                  <c:v>40853</c:v>
                </c:pt>
                <c:pt idx="316">
                  <c:v>40853</c:v>
                </c:pt>
                <c:pt idx="317">
                  <c:v>40853</c:v>
                </c:pt>
                <c:pt idx="318">
                  <c:v>40853</c:v>
                </c:pt>
                <c:pt idx="319">
                  <c:v>40853</c:v>
                </c:pt>
                <c:pt idx="320">
                  <c:v>40853</c:v>
                </c:pt>
                <c:pt idx="321">
                  <c:v>40853</c:v>
                </c:pt>
                <c:pt idx="322">
                  <c:v>40853</c:v>
                </c:pt>
                <c:pt idx="323">
                  <c:v>40854</c:v>
                </c:pt>
                <c:pt idx="324">
                  <c:v>40854</c:v>
                </c:pt>
                <c:pt idx="325">
                  <c:v>40854</c:v>
                </c:pt>
                <c:pt idx="326">
                  <c:v>40855</c:v>
                </c:pt>
                <c:pt idx="327">
                  <c:v>40855</c:v>
                </c:pt>
                <c:pt idx="328">
                  <c:v>40855</c:v>
                </c:pt>
                <c:pt idx="329">
                  <c:v>40856</c:v>
                </c:pt>
                <c:pt idx="330">
                  <c:v>40858</c:v>
                </c:pt>
                <c:pt idx="331">
                  <c:v>40858</c:v>
                </c:pt>
                <c:pt idx="332">
                  <c:v>40859</c:v>
                </c:pt>
                <c:pt idx="333">
                  <c:v>40859</c:v>
                </c:pt>
                <c:pt idx="334">
                  <c:v>40859</c:v>
                </c:pt>
                <c:pt idx="335">
                  <c:v>40859</c:v>
                </c:pt>
                <c:pt idx="336">
                  <c:v>40859</c:v>
                </c:pt>
                <c:pt idx="337">
                  <c:v>40859</c:v>
                </c:pt>
                <c:pt idx="338">
                  <c:v>40859</c:v>
                </c:pt>
                <c:pt idx="339">
                  <c:v>40859</c:v>
                </c:pt>
                <c:pt idx="340">
                  <c:v>40859</c:v>
                </c:pt>
                <c:pt idx="341">
                  <c:v>40860</c:v>
                </c:pt>
                <c:pt idx="342">
                  <c:v>40860</c:v>
                </c:pt>
                <c:pt idx="343">
                  <c:v>40860</c:v>
                </c:pt>
                <c:pt idx="344">
                  <c:v>40861</c:v>
                </c:pt>
                <c:pt idx="345">
                  <c:v>40861</c:v>
                </c:pt>
                <c:pt idx="346">
                  <c:v>40861</c:v>
                </c:pt>
                <c:pt idx="347">
                  <c:v>40861</c:v>
                </c:pt>
                <c:pt idx="348">
                  <c:v>40861</c:v>
                </c:pt>
                <c:pt idx="349">
                  <c:v>40862</c:v>
                </c:pt>
                <c:pt idx="350">
                  <c:v>40863</c:v>
                </c:pt>
                <c:pt idx="351">
                  <c:v>40863</c:v>
                </c:pt>
                <c:pt idx="352">
                  <c:v>40864</c:v>
                </c:pt>
                <c:pt idx="353">
                  <c:v>40864</c:v>
                </c:pt>
                <c:pt idx="354">
                  <c:v>40864</c:v>
                </c:pt>
                <c:pt idx="355">
                  <c:v>40864</c:v>
                </c:pt>
                <c:pt idx="356">
                  <c:v>40867</c:v>
                </c:pt>
                <c:pt idx="357">
                  <c:v>40867</c:v>
                </c:pt>
                <c:pt idx="358">
                  <c:v>40867</c:v>
                </c:pt>
                <c:pt idx="359">
                  <c:v>40868</c:v>
                </c:pt>
                <c:pt idx="360">
                  <c:v>40869</c:v>
                </c:pt>
                <c:pt idx="361">
                  <c:v>40870</c:v>
                </c:pt>
                <c:pt idx="362">
                  <c:v>40871</c:v>
                </c:pt>
                <c:pt idx="363">
                  <c:v>40871</c:v>
                </c:pt>
                <c:pt idx="364">
                  <c:v>40871</c:v>
                </c:pt>
                <c:pt idx="365">
                  <c:v>40877</c:v>
                </c:pt>
                <c:pt idx="366">
                  <c:v>40882</c:v>
                </c:pt>
                <c:pt idx="367">
                  <c:v>40885</c:v>
                </c:pt>
                <c:pt idx="368">
                  <c:v>40886</c:v>
                </c:pt>
                <c:pt idx="369">
                  <c:v>40886</c:v>
                </c:pt>
                <c:pt idx="370">
                  <c:v>40891</c:v>
                </c:pt>
                <c:pt idx="371">
                  <c:v>40893</c:v>
                </c:pt>
                <c:pt idx="372">
                  <c:v>40894</c:v>
                </c:pt>
                <c:pt idx="373">
                  <c:v>40896</c:v>
                </c:pt>
                <c:pt idx="374">
                  <c:v>40897</c:v>
                </c:pt>
                <c:pt idx="375">
                  <c:v>40897</c:v>
                </c:pt>
                <c:pt idx="376">
                  <c:v>40898</c:v>
                </c:pt>
                <c:pt idx="377">
                  <c:v>40899</c:v>
                </c:pt>
                <c:pt idx="378">
                  <c:v>40900</c:v>
                </c:pt>
                <c:pt idx="379">
                  <c:v>40900</c:v>
                </c:pt>
                <c:pt idx="380">
                  <c:v>40900</c:v>
                </c:pt>
                <c:pt idx="381">
                  <c:v>40900</c:v>
                </c:pt>
                <c:pt idx="382">
                  <c:v>40901</c:v>
                </c:pt>
                <c:pt idx="383">
                  <c:v>40901</c:v>
                </c:pt>
                <c:pt idx="384">
                  <c:v>40906</c:v>
                </c:pt>
                <c:pt idx="385">
                  <c:v>40914</c:v>
                </c:pt>
                <c:pt idx="386">
                  <c:v>40917</c:v>
                </c:pt>
                <c:pt idx="387">
                  <c:v>40917</c:v>
                </c:pt>
                <c:pt idx="388">
                  <c:v>40917</c:v>
                </c:pt>
                <c:pt idx="389">
                  <c:v>40918</c:v>
                </c:pt>
                <c:pt idx="390">
                  <c:v>40919</c:v>
                </c:pt>
                <c:pt idx="391">
                  <c:v>40926</c:v>
                </c:pt>
                <c:pt idx="392">
                  <c:v>40928</c:v>
                </c:pt>
                <c:pt idx="393">
                  <c:v>40936</c:v>
                </c:pt>
                <c:pt idx="394">
                  <c:v>40939</c:v>
                </c:pt>
                <c:pt idx="395">
                  <c:v>40943</c:v>
                </c:pt>
                <c:pt idx="396">
                  <c:v>40944</c:v>
                </c:pt>
                <c:pt idx="397">
                  <c:v>40945</c:v>
                </c:pt>
                <c:pt idx="398">
                  <c:v>40951</c:v>
                </c:pt>
                <c:pt idx="399">
                  <c:v>40958</c:v>
                </c:pt>
                <c:pt idx="400">
                  <c:v>40971</c:v>
                </c:pt>
                <c:pt idx="401">
                  <c:v>40974</c:v>
                </c:pt>
                <c:pt idx="402">
                  <c:v>41001</c:v>
                </c:pt>
                <c:pt idx="403">
                  <c:v>41003</c:v>
                </c:pt>
                <c:pt idx="404">
                  <c:v>41003</c:v>
                </c:pt>
                <c:pt idx="405">
                  <c:v>41006</c:v>
                </c:pt>
                <c:pt idx="406">
                  <c:v>41010</c:v>
                </c:pt>
                <c:pt idx="407">
                  <c:v>41031</c:v>
                </c:pt>
                <c:pt idx="408">
                  <c:v>41037</c:v>
                </c:pt>
                <c:pt idx="409">
                  <c:v>41046</c:v>
                </c:pt>
                <c:pt idx="410">
                  <c:v>41048</c:v>
                </c:pt>
                <c:pt idx="411">
                  <c:v>41049</c:v>
                </c:pt>
                <c:pt idx="412">
                  <c:v>41067</c:v>
                </c:pt>
                <c:pt idx="413">
                  <c:v>41080</c:v>
                </c:pt>
                <c:pt idx="414">
                  <c:v>41095</c:v>
                </c:pt>
                <c:pt idx="415">
                  <c:v>41104</c:v>
                </c:pt>
                <c:pt idx="416">
                  <c:v>41121</c:v>
                </c:pt>
                <c:pt idx="417">
                  <c:v>41122</c:v>
                </c:pt>
                <c:pt idx="418">
                  <c:v>41127</c:v>
                </c:pt>
                <c:pt idx="419">
                  <c:v>41161</c:v>
                </c:pt>
                <c:pt idx="420">
                  <c:v>41176</c:v>
                </c:pt>
                <c:pt idx="421">
                  <c:v>41205</c:v>
                </c:pt>
                <c:pt idx="422">
                  <c:v>41208</c:v>
                </c:pt>
                <c:pt idx="423">
                  <c:v>41234</c:v>
                </c:pt>
                <c:pt idx="424">
                  <c:v>41246</c:v>
                </c:pt>
                <c:pt idx="425">
                  <c:v>41261</c:v>
                </c:pt>
                <c:pt idx="426">
                  <c:v>41337</c:v>
                </c:pt>
                <c:pt idx="427">
                  <c:v>41378</c:v>
                </c:pt>
                <c:pt idx="428">
                  <c:v>41415</c:v>
                </c:pt>
                <c:pt idx="429">
                  <c:v>41493</c:v>
                </c:pt>
                <c:pt idx="430">
                  <c:v>41543</c:v>
                </c:pt>
                <c:pt idx="431">
                  <c:v>41562</c:v>
                </c:pt>
                <c:pt idx="432">
                  <c:v>41572</c:v>
                </c:pt>
                <c:pt idx="433">
                  <c:v>41656</c:v>
                </c:pt>
                <c:pt idx="434">
                  <c:v>41714</c:v>
                </c:pt>
                <c:pt idx="435">
                  <c:v>41761</c:v>
                </c:pt>
                <c:pt idx="436">
                  <c:v>41818</c:v>
                </c:pt>
                <c:pt idx="437">
                  <c:v>41869</c:v>
                </c:pt>
                <c:pt idx="438">
                  <c:v>41902</c:v>
                </c:pt>
                <c:pt idx="439">
                  <c:v>41931</c:v>
                </c:pt>
                <c:pt idx="440">
                  <c:v>42033</c:v>
                </c:pt>
                <c:pt idx="441">
                  <c:v>42100</c:v>
                </c:pt>
                <c:pt idx="442">
                  <c:v>42139</c:v>
                </c:pt>
                <c:pt idx="443">
                  <c:v>42238</c:v>
                </c:pt>
                <c:pt idx="444">
                  <c:v>42375</c:v>
                </c:pt>
                <c:pt idx="445">
                  <c:v>42414</c:v>
                </c:pt>
                <c:pt idx="446">
                  <c:v>42430</c:v>
                </c:pt>
                <c:pt idx="447">
                  <c:v>42554</c:v>
                </c:pt>
                <c:pt idx="448">
                  <c:v>42622</c:v>
                </c:pt>
                <c:pt idx="449">
                  <c:v>42714</c:v>
                </c:pt>
                <c:pt idx="450">
                  <c:v>42792</c:v>
                </c:pt>
                <c:pt idx="451">
                  <c:v>42896</c:v>
                </c:pt>
                <c:pt idx="452">
                  <c:v>42923</c:v>
                </c:pt>
                <c:pt idx="453">
                  <c:v>42937</c:v>
                </c:pt>
                <c:pt idx="454">
                  <c:v>43025</c:v>
                </c:pt>
                <c:pt idx="455">
                  <c:v>43088</c:v>
                </c:pt>
                <c:pt idx="456">
                  <c:v>43162</c:v>
                </c:pt>
                <c:pt idx="457">
                  <c:v>43226</c:v>
                </c:pt>
                <c:pt idx="458">
                  <c:v>43270</c:v>
                </c:pt>
                <c:pt idx="459">
                  <c:v>43329</c:v>
                </c:pt>
                <c:pt idx="460">
                  <c:v>43346</c:v>
                </c:pt>
                <c:pt idx="461">
                  <c:v>43428</c:v>
                </c:pt>
                <c:pt idx="462">
                  <c:v>43486</c:v>
                </c:pt>
                <c:pt idx="463">
                  <c:v>43539</c:v>
                </c:pt>
                <c:pt idx="464">
                  <c:v>43596</c:v>
                </c:pt>
                <c:pt idx="465">
                  <c:v>43646</c:v>
                </c:pt>
                <c:pt idx="466">
                  <c:v>43665</c:v>
                </c:pt>
                <c:pt idx="467">
                  <c:v>43675</c:v>
                </c:pt>
                <c:pt idx="468">
                  <c:v>43728</c:v>
                </c:pt>
                <c:pt idx="469">
                  <c:v>43792</c:v>
                </c:pt>
                <c:pt idx="470">
                  <c:v>43837</c:v>
                </c:pt>
                <c:pt idx="471">
                  <c:v>43862</c:v>
                </c:pt>
                <c:pt idx="472">
                  <c:v>43890</c:v>
                </c:pt>
                <c:pt idx="473">
                  <c:v>43900</c:v>
                </c:pt>
                <c:pt idx="474">
                  <c:v>43913</c:v>
                </c:pt>
                <c:pt idx="475">
                  <c:v>43957</c:v>
                </c:pt>
                <c:pt idx="476">
                  <c:v>43978</c:v>
                </c:pt>
                <c:pt idx="477">
                  <c:v>43990</c:v>
                </c:pt>
                <c:pt idx="478">
                  <c:v>43999</c:v>
                </c:pt>
                <c:pt idx="479">
                  <c:v>44007</c:v>
                </c:pt>
                <c:pt idx="480">
                  <c:v>44015</c:v>
                </c:pt>
                <c:pt idx="481">
                  <c:v>44020</c:v>
                </c:pt>
                <c:pt idx="482">
                  <c:v>44040</c:v>
                </c:pt>
                <c:pt idx="483">
                  <c:v>44063</c:v>
                </c:pt>
                <c:pt idx="484">
                  <c:v>44079</c:v>
                </c:pt>
                <c:pt idx="485">
                  <c:v>44091</c:v>
                </c:pt>
                <c:pt idx="486">
                  <c:v>44107</c:v>
                </c:pt>
                <c:pt idx="487">
                  <c:v>44111</c:v>
                </c:pt>
                <c:pt idx="488">
                  <c:v>44115</c:v>
                </c:pt>
                <c:pt idx="489">
                  <c:v>44140</c:v>
                </c:pt>
                <c:pt idx="490">
                  <c:v>44160</c:v>
                </c:pt>
                <c:pt idx="491">
                  <c:v>44172</c:v>
                </c:pt>
                <c:pt idx="492">
                  <c:v>44188</c:v>
                </c:pt>
                <c:pt idx="493">
                  <c:v>44205</c:v>
                </c:pt>
                <c:pt idx="494">
                  <c:v>44209</c:v>
                </c:pt>
                <c:pt idx="495">
                  <c:v>44214</c:v>
                </c:pt>
                <c:pt idx="496">
                  <c:v>44234</c:v>
                </c:pt>
                <c:pt idx="497">
                  <c:v>44253</c:v>
                </c:pt>
                <c:pt idx="498">
                  <c:v>44266</c:v>
                </c:pt>
                <c:pt idx="499">
                  <c:v>44282</c:v>
                </c:pt>
                <c:pt idx="500">
                  <c:v>44302</c:v>
                </c:pt>
                <c:pt idx="501">
                  <c:v>44309</c:v>
                </c:pt>
                <c:pt idx="502">
                  <c:v>44324</c:v>
                </c:pt>
                <c:pt idx="503">
                  <c:v>44392</c:v>
                </c:pt>
                <c:pt idx="504">
                  <c:v>44440</c:v>
                </c:pt>
                <c:pt idx="505">
                  <c:v>44494</c:v>
                </c:pt>
                <c:pt idx="506">
                  <c:v>44564</c:v>
                </c:pt>
                <c:pt idx="507">
                  <c:v>44648</c:v>
                </c:pt>
                <c:pt idx="508">
                  <c:v>44700</c:v>
                </c:pt>
                <c:pt idx="509">
                  <c:v>44722</c:v>
                </c:pt>
                <c:pt idx="510">
                  <c:v>44862</c:v>
                </c:pt>
                <c:pt idx="511">
                  <c:v>45007</c:v>
                </c:pt>
                <c:pt idx="512">
                  <c:v>45145</c:v>
                </c:pt>
                <c:pt idx="513">
                  <c:v>45230</c:v>
                </c:pt>
                <c:pt idx="514">
                  <c:v>45352</c:v>
                </c:pt>
                <c:pt idx="515">
                  <c:v>45386</c:v>
                </c:pt>
                <c:pt idx="516">
                  <c:v>45423</c:v>
                </c:pt>
                <c:pt idx="517">
                  <c:v>45582</c:v>
                </c:pt>
                <c:pt idx="518">
                  <c:v>45752</c:v>
                </c:pt>
                <c:pt idx="519">
                  <c:v>45868</c:v>
                </c:pt>
                <c:pt idx="520">
                  <c:v>45960</c:v>
                </c:pt>
                <c:pt idx="521">
                  <c:v>46101</c:v>
                </c:pt>
                <c:pt idx="522">
                  <c:v>46153</c:v>
                </c:pt>
                <c:pt idx="523">
                  <c:v>46193</c:v>
                </c:pt>
                <c:pt idx="524">
                  <c:v>46414</c:v>
                </c:pt>
                <c:pt idx="525">
                  <c:v>46557</c:v>
                </c:pt>
                <c:pt idx="526">
                  <c:v>46650</c:v>
                </c:pt>
                <c:pt idx="527">
                  <c:v>46759</c:v>
                </c:pt>
                <c:pt idx="528">
                  <c:v>46876</c:v>
                </c:pt>
                <c:pt idx="529">
                  <c:v>46919</c:v>
                </c:pt>
                <c:pt idx="530">
                  <c:v>46962</c:v>
                </c:pt>
                <c:pt idx="531">
                  <c:v>47114</c:v>
                </c:pt>
                <c:pt idx="532">
                  <c:v>47242</c:v>
                </c:pt>
                <c:pt idx="533">
                  <c:v>47361</c:v>
                </c:pt>
                <c:pt idx="534">
                  <c:v>47483</c:v>
                </c:pt>
                <c:pt idx="535">
                  <c:v>47551</c:v>
                </c:pt>
                <c:pt idx="536">
                  <c:v>47583</c:v>
                </c:pt>
                <c:pt idx="537">
                  <c:v>47607</c:v>
                </c:pt>
                <c:pt idx="538">
                  <c:v>47710</c:v>
                </c:pt>
                <c:pt idx="539">
                  <c:v>47810</c:v>
                </c:pt>
                <c:pt idx="540">
                  <c:v>47898</c:v>
                </c:pt>
                <c:pt idx="541">
                  <c:v>47953</c:v>
                </c:pt>
                <c:pt idx="542">
                  <c:v>48018</c:v>
                </c:pt>
                <c:pt idx="543">
                  <c:v>48039</c:v>
                </c:pt>
                <c:pt idx="544">
                  <c:v>48056</c:v>
                </c:pt>
                <c:pt idx="545">
                  <c:v>48138</c:v>
                </c:pt>
                <c:pt idx="546">
                  <c:v>48194</c:v>
                </c:pt>
                <c:pt idx="547">
                  <c:v>48252</c:v>
                </c:pt>
                <c:pt idx="548">
                  <c:v>48290</c:v>
                </c:pt>
                <c:pt idx="549">
                  <c:v>48327</c:v>
                </c:pt>
                <c:pt idx="550">
                  <c:v>48348</c:v>
                </c:pt>
                <c:pt idx="551">
                  <c:v>48364</c:v>
                </c:pt>
                <c:pt idx="552">
                  <c:v>48432</c:v>
                </c:pt>
                <c:pt idx="553">
                  <c:v>48524</c:v>
                </c:pt>
                <c:pt idx="554">
                  <c:v>48588</c:v>
                </c:pt>
                <c:pt idx="555">
                  <c:v>48622</c:v>
                </c:pt>
                <c:pt idx="556">
                  <c:v>486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3C3-4558-95C0-65D81E5CAF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4139039"/>
        <c:axId val="595872255"/>
      </c:lineChart>
      <c:dateAx>
        <c:axId val="76413903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5872255"/>
        <c:crosses val="autoZero"/>
        <c:auto val="1"/>
        <c:lblOffset val="100"/>
        <c:baseTimeUnit val="days"/>
      </c:dateAx>
      <c:valAx>
        <c:axId val="595872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solidFill>
            <a:schemeClr val="bg1"/>
          </a:solidFill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413903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evalenc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Klienti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558</c:f>
              <c:numCache>
                <c:formatCode>m/d/yyyy</c:formatCode>
                <c:ptCount val="55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</c:numCache>
            </c:numRef>
          </c:cat>
          <c:val>
            <c:numRef>
              <c:f>List1!$B$2:$B$558</c:f>
              <c:numCache>
                <c:formatCode>General</c:formatCode>
                <c:ptCount val="557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7</c:v>
                </c:pt>
                <c:pt idx="8">
                  <c:v>7</c:v>
                </c:pt>
                <c:pt idx="9">
                  <c:v>6</c:v>
                </c:pt>
                <c:pt idx="10">
                  <c:v>6</c:v>
                </c:pt>
                <c:pt idx="11">
                  <c:v>10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1</c:v>
                </c:pt>
                <c:pt idx="19">
                  <c:v>4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4</c:v>
                </c:pt>
                <c:pt idx="24">
                  <c:v>2</c:v>
                </c:pt>
                <c:pt idx="25">
                  <c:v>7</c:v>
                </c:pt>
                <c:pt idx="26">
                  <c:v>7</c:v>
                </c:pt>
                <c:pt idx="27">
                  <c:v>7</c:v>
                </c:pt>
                <c:pt idx="28">
                  <c:v>11</c:v>
                </c:pt>
                <c:pt idx="29">
                  <c:v>38</c:v>
                </c:pt>
                <c:pt idx="30">
                  <c:v>67</c:v>
                </c:pt>
                <c:pt idx="31">
                  <c:v>122</c:v>
                </c:pt>
                <c:pt idx="32">
                  <c:v>157</c:v>
                </c:pt>
                <c:pt idx="33">
                  <c:v>209</c:v>
                </c:pt>
                <c:pt idx="34">
                  <c:v>366</c:v>
                </c:pt>
                <c:pt idx="35">
                  <c:v>437</c:v>
                </c:pt>
                <c:pt idx="36">
                  <c:v>475</c:v>
                </c:pt>
                <c:pt idx="37">
                  <c:v>544</c:v>
                </c:pt>
                <c:pt idx="38">
                  <c:v>676</c:v>
                </c:pt>
                <c:pt idx="39">
                  <c:v>696</c:v>
                </c:pt>
                <c:pt idx="40">
                  <c:v>665</c:v>
                </c:pt>
                <c:pt idx="41">
                  <c:v>777</c:v>
                </c:pt>
                <c:pt idx="42">
                  <c:v>950</c:v>
                </c:pt>
                <c:pt idx="43">
                  <c:v>1081</c:v>
                </c:pt>
                <c:pt idx="44">
                  <c:v>1259</c:v>
                </c:pt>
                <c:pt idx="45">
                  <c:v>1384</c:v>
                </c:pt>
                <c:pt idx="46">
                  <c:v>1462</c:v>
                </c:pt>
                <c:pt idx="47">
                  <c:v>1414</c:v>
                </c:pt>
                <c:pt idx="48">
                  <c:v>1588</c:v>
                </c:pt>
                <c:pt idx="49">
                  <c:v>1704</c:v>
                </c:pt>
                <c:pt idx="50">
                  <c:v>1983</c:v>
                </c:pt>
                <c:pt idx="51">
                  <c:v>2151</c:v>
                </c:pt>
                <c:pt idx="52">
                  <c:v>2444</c:v>
                </c:pt>
                <c:pt idx="53">
                  <c:v>2525</c:v>
                </c:pt>
                <c:pt idx="54">
                  <c:v>2571</c:v>
                </c:pt>
                <c:pt idx="55">
                  <c:v>2755</c:v>
                </c:pt>
                <c:pt idx="56">
                  <c:v>3099</c:v>
                </c:pt>
                <c:pt idx="57">
                  <c:v>3129</c:v>
                </c:pt>
                <c:pt idx="58">
                  <c:v>3577</c:v>
                </c:pt>
                <c:pt idx="59">
                  <c:v>3874</c:v>
                </c:pt>
                <c:pt idx="60">
                  <c:v>3963</c:v>
                </c:pt>
                <c:pt idx="61">
                  <c:v>3858</c:v>
                </c:pt>
                <c:pt idx="62">
                  <c:v>3923</c:v>
                </c:pt>
                <c:pt idx="63">
                  <c:v>3862</c:v>
                </c:pt>
                <c:pt idx="64">
                  <c:v>4076</c:v>
                </c:pt>
                <c:pt idx="65">
                  <c:v>4412</c:v>
                </c:pt>
                <c:pt idx="66">
                  <c:v>4280</c:v>
                </c:pt>
                <c:pt idx="67">
                  <c:v>3928</c:v>
                </c:pt>
                <c:pt idx="68">
                  <c:v>3848</c:v>
                </c:pt>
                <c:pt idx="69">
                  <c:v>3605</c:v>
                </c:pt>
                <c:pt idx="70">
                  <c:v>3483</c:v>
                </c:pt>
                <c:pt idx="71">
                  <c:v>3908</c:v>
                </c:pt>
                <c:pt idx="72">
                  <c:v>4295</c:v>
                </c:pt>
                <c:pt idx="73">
                  <c:v>4342</c:v>
                </c:pt>
                <c:pt idx="74">
                  <c:v>4006</c:v>
                </c:pt>
                <c:pt idx="75">
                  <c:v>3891</c:v>
                </c:pt>
                <c:pt idx="76">
                  <c:v>3909</c:v>
                </c:pt>
                <c:pt idx="77">
                  <c:v>3692</c:v>
                </c:pt>
                <c:pt idx="78">
                  <c:v>3886</c:v>
                </c:pt>
                <c:pt idx="79">
                  <c:v>4040</c:v>
                </c:pt>
                <c:pt idx="80">
                  <c:v>4098</c:v>
                </c:pt>
                <c:pt idx="81">
                  <c:v>3715</c:v>
                </c:pt>
                <c:pt idx="82">
                  <c:v>3443</c:v>
                </c:pt>
                <c:pt idx="83">
                  <c:v>3572</c:v>
                </c:pt>
                <c:pt idx="84">
                  <c:v>3284</c:v>
                </c:pt>
                <c:pt idx="85">
                  <c:v>3282</c:v>
                </c:pt>
                <c:pt idx="86">
                  <c:v>3377</c:v>
                </c:pt>
                <c:pt idx="87">
                  <c:v>3139</c:v>
                </c:pt>
                <c:pt idx="88">
                  <c:v>3106</c:v>
                </c:pt>
                <c:pt idx="89">
                  <c:v>2850</c:v>
                </c:pt>
                <c:pt idx="90">
                  <c:v>2752</c:v>
                </c:pt>
                <c:pt idx="91">
                  <c:v>2566</c:v>
                </c:pt>
                <c:pt idx="92">
                  <c:v>2601</c:v>
                </c:pt>
                <c:pt idx="93">
                  <c:v>2660</c:v>
                </c:pt>
                <c:pt idx="94">
                  <c:v>2553</c:v>
                </c:pt>
                <c:pt idx="95">
                  <c:v>2381</c:v>
                </c:pt>
                <c:pt idx="96">
                  <c:v>2230</c:v>
                </c:pt>
                <c:pt idx="97">
                  <c:v>2183</c:v>
                </c:pt>
                <c:pt idx="98">
                  <c:v>2038</c:v>
                </c:pt>
                <c:pt idx="99">
                  <c:v>2093</c:v>
                </c:pt>
                <c:pt idx="100">
                  <c:v>2144</c:v>
                </c:pt>
                <c:pt idx="101">
                  <c:v>2138</c:v>
                </c:pt>
                <c:pt idx="102">
                  <c:v>2041</c:v>
                </c:pt>
                <c:pt idx="103">
                  <c:v>1994</c:v>
                </c:pt>
                <c:pt idx="104">
                  <c:v>2005</c:v>
                </c:pt>
                <c:pt idx="105">
                  <c:v>1987</c:v>
                </c:pt>
                <c:pt idx="106">
                  <c:v>1988</c:v>
                </c:pt>
                <c:pt idx="107">
                  <c:v>1993</c:v>
                </c:pt>
                <c:pt idx="108">
                  <c:v>2042</c:v>
                </c:pt>
                <c:pt idx="109">
                  <c:v>1914</c:v>
                </c:pt>
                <c:pt idx="110">
                  <c:v>1849</c:v>
                </c:pt>
                <c:pt idx="111">
                  <c:v>1899</c:v>
                </c:pt>
                <c:pt idx="112">
                  <c:v>1913</c:v>
                </c:pt>
                <c:pt idx="113">
                  <c:v>1937</c:v>
                </c:pt>
                <c:pt idx="114">
                  <c:v>1903</c:v>
                </c:pt>
                <c:pt idx="115">
                  <c:v>1800</c:v>
                </c:pt>
                <c:pt idx="116">
                  <c:v>1776</c:v>
                </c:pt>
                <c:pt idx="117">
                  <c:v>1774</c:v>
                </c:pt>
                <c:pt idx="118">
                  <c:v>1820</c:v>
                </c:pt>
                <c:pt idx="119">
                  <c:v>1868</c:v>
                </c:pt>
                <c:pt idx="120">
                  <c:v>1971</c:v>
                </c:pt>
                <c:pt idx="121">
                  <c:v>2054</c:v>
                </c:pt>
                <c:pt idx="122">
                  <c:v>1921</c:v>
                </c:pt>
                <c:pt idx="123">
                  <c:v>1889</c:v>
                </c:pt>
                <c:pt idx="124">
                  <c:v>1723</c:v>
                </c:pt>
                <c:pt idx="125">
                  <c:v>1956</c:v>
                </c:pt>
                <c:pt idx="126">
                  <c:v>2048</c:v>
                </c:pt>
                <c:pt idx="127">
                  <c:v>2137</c:v>
                </c:pt>
                <c:pt idx="128">
                  <c:v>2282</c:v>
                </c:pt>
                <c:pt idx="129">
                  <c:v>2286</c:v>
                </c:pt>
                <c:pt idx="130">
                  <c:v>2155</c:v>
                </c:pt>
                <c:pt idx="131">
                  <c:v>2011</c:v>
                </c:pt>
                <c:pt idx="132">
                  <c:v>2157</c:v>
                </c:pt>
                <c:pt idx="133">
                  <c:v>2220</c:v>
                </c:pt>
                <c:pt idx="134">
                  <c:v>2322</c:v>
                </c:pt>
                <c:pt idx="135">
                  <c:v>2370</c:v>
                </c:pt>
                <c:pt idx="136">
                  <c:v>2292</c:v>
                </c:pt>
                <c:pt idx="137">
                  <c:v>2094</c:v>
                </c:pt>
                <c:pt idx="138">
                  <c:v>1940</c:v>
                </c:pt>
                <c:pt idx="139">
                  <c:v>1886</c:v>
                </c:pt>
                <c:pt idx="140">
                  <c:v>1773</c:v>
                </c:pt>
                <c:pt idx="141">
                  <c:v>1855</c:v>
                </c:pt>
                <c:pt idx="142">
                  <c:v>1927</c:v>
                </c:pt>
                <c:pt idx="143">
                  <c:v>1800</c:v>
                </c:pt>
                <c:pt idx="144">
                  <c:v>1730</c:v>
                </c:pt>
                <c:pt idx="145">
                  <c:v>1631</c:v>
                </c:pt>
                <c:pt idx="146">
                  <c:v>1594</c:v>
                </c:pt>
                <c:pt idx="147">
                  <c:v>1538</c:v>
                </c:pt>
                <c:pt idx="148">
                  <c:v>1589</c:v>
                </c:pt>
                <c:pt idx="149">
                  <c:v>1627</c:v>
                </c:pt>
                <c:pt idx="150">
                  <c:v>1485</c:v>
                </c:pt>
                <c:pt idx="151">
                  <c:v>1442</c:v>
                </c:pt>
                <c:pt idx="152">
                  <c:v>1306</c:v>
                </c:pt>
                <c:pt idx="153">
                  <c:v>1335</c:v>
                </c:pt>
                <c:pt idx="154">
                  <c:v>1360</c:v>
                </c:pt>
                <c:pt idx="155">
                  <c:v>1414</c:v>
                </c:pt>
                <c:pt idx="156">
                  <c:v>1445</c:v>
                </c:pt>
                <c:pt idx="157">
                  <c:v>1416</c:v>
                </c:pt>
                <c:pt idx="158">
                  <c:v>1355</c:v>
                </c:pt>
                <c:pt idx="159">
                  <c:v>1300</c:v>
                </c:pt>
                <c:pt idx="160">
                  <c:v>1316</c:v>
                </c:pt>
                <c:pt idx="161">
                  <c:v>1309</c:v>
                </c:pt>
                <c:pt idx="162">
                  <c:v>1349</c:v>
                </c:pt>
                <c:pt idx="163">
                  <c:v>1400</c:v>
                </c:pt>
                <c:pt idx="164">
                  <c:v>1361</c:v>
                </c:pt>
                <c:pt idx="165">
                  <c:v>1241</c:v>
                </c:pt>
                <c:pt idx="166">
                  <c:v>1150</c:v>
                </c:pt>
                <c:pt idx="167">
                  <c:v>1128</c:v>
                </c:pt>
                <c:pt idx="168">
                  <c:v>1045</c:v>
                </c:pt>
                <c:pt idx="169">
                  <c:v>1023</c:v>
                </c:pt>
                <c:pt idx="170">
                  <c:v>1040</c:v>
                </c:pt>
                <c:pt idx="171">
                  <c:v>980</c:v>
                </c:pt>
                <c:pt idx="172">
                  <c:v>918</c:v>
                </c:pt>
                <c:pt idx="173">
                  <c:v>848</c:v>
                </c:pt>
                <c:pt idx="174">
                  <c:v>892</c:v>
                </c:pt>
                <c:pt idx="175">
                  <c:v>866</c:v>
                </c:pt>
                <c:pt idx="176">
                  <c:v>875</c:v>
                </c:pt>
                <c:pt idx="177">
                  <c:v>905</c:v>
                </c:pt>
                <c:pt idx="178">
                  <c:v>896</c:v>
                </c:pt>
                <c:pt idx="179">
                  <c:v>863</c:v>
                </c:pt>
                <c:pt idx="180">
                  <c:v>842</c:v>
                </c:pt>
                <c:pt idx="181">
                  <c:v>891</c:v>
                </c:pt>
                <c:pt idx="182">
                  <c:v>858</c:v>
                </c:pt>
                <c:pt idx="183">
                  <c:v>864</c:v>
                </c:pt>
                <c:pt idx="184">
                  <c:v>860</c:v>
                </c:pt>
                <c:pt idx="185">
                  <c:v>793</c:v>
                </c:pt>
                <c:pt idx="186">
                  <c:v>764</c:v>
                </c:pt>
                <c:pt idx="187">
                  <c:v>721</c:v>
                </c:pt>
                <c:pt idx="188">
                  <c:v>716</c:v>
                </c:pt>
                <c:pt idx="189">
                  <c:v>772</c:v>
                </c:pt>
                <c:pt idx="190">
                  <c:v>821</c:v>
                </c:pt>
                <c:pt idx="191">
                  <c:v>823</c:v>
                </c:pt>
                <c:pt idx="192">
                  <c:v>850</c:v>
                </c:pt>
                <c:pt idx="193">
                  <c:v>847</c:v>
                </c:pt>
                <c:pt idx="194">
                  <c:v>848</c:v>
                </c:pt>
                <c:pt idx="195">
                  <c:v>875</c:v>
                </c:pt>
                <c:pt idx="196">
                  <c:v>811</c:v>
                </c:pt>
                <c:pt idx="197">
                  <c:v>794</c:v>
                </c:pt>
                <c:pt idx="198">
                  <c:v>779</c:v>
                </c:pt>
                <c:pt idx="199">
                  <c:v>779</c:v>
                </c:pt>
                <c:pt idx="200">
                  <c:v>760</c:v>
                </c:pt>
                <c:pt idx="201">
                  <c:v>759</c:v>
                </c:pt>
                <c:pt idx="202">
                  <c:v>763</c:v>
                </c:pt>
                <c:pt idx="203">
                  <c:v>767</c:v>
                </c:pt>
                <c:pt idx="204">
                  <c:v>733</c:v>
                </c:pt>
                <c:pt idx="205">
                  <c:v>728</c:v>
                </c:pt>
                <c:pt idx="206">
                  <c:v>711</c:v>
                </c:pt>
                <c:pt idx="207">
                  <c:v>676</c:v>
                </c:pt>
                <c:pt idx="208">
                  <c:v>675</c:v>
                </c:pt>
                <c:pt idx="209">
                  <c:v>688</c:v>
                </c:pt>
                <c:pt idx="210">
                  <c:v>658</c:v>
                </c:pt>
                <c:pt idx="211">
                  <c:v>651</c:v>
                </c:pt>
                <c:pt idx="212">
                  <c:v>636</c:v>
                </c:pt>
                <c:pt idx="213">
                  <c:v>607</c:v>
                </c:pt>
                <c:pt idx="214">
                  <c:v>597</c:v>
                </c:pt>
                <c:pt idx="215">
                  <c:v>595</c:v>
                </c:pt>
                <c:pt idx="216">
                  <c:v>593</c:v>
                </c:pt>
                <c:pt idx="217">
                  <c:v>563</c:v>
                </c:pt>
                <c:pt idx="218">
                  <c:v>561</c:v>
                </c:pt>
                <c:pt idx="219">
                  <c:v>546</c:v>
                </c:pt>
                <c:pt idx="220">
                  <c:v>516</c:v>
                </c:pt>
                <c:pt idx="221">
                  <c:v>511</c:v>
                </c:pt>
                <c:pt idx="222">
                  <c:v>510</c:v>
                </c:pt>
                <c:pt idx="223">
                  <c:v>511</c:v>
                </c:pt>
                <c:pt idx="224">
                  <c:v>500</c:v>
                </c:pt>
                <c:pt idx="225">
                  <c:v>480</c:v>
                </c:pt>
                <c:pt idx="226">
                  <c:v>468</c:v>
                </c:pt>
                <c:pt idx="227">
                  <c:v>452</c:v>
                </c:pt>
                <c:pt idx="228">
                  <c:v>450</c:v>
                </c:pt>
                <c:pt idx="229">
                  <c:v>452</c:v>
                </c:pt>
                <c:pt idx="230">
                  <c:v>457</c:v>
                </c:pt>
                <c:pt idx="231">
                  <c:v>452</c:v>
                </c:pt>
                <c:pt idx="232">
                  <c:v>444</c:v>
                </c:pt>
                <c:pt idx="233">
                  <c:v>453</c:v>
                </c:pt>
                <c:pt idx="234">
                  <c:v>457</c:v>
                </c:pt>
                <c:pt idx="235">
                  <c:v>449</c:v>
                </c:pt>
                <c:pt idx="236">
                  <c:v>448</c:v>
                </c:pt>
                <c:pt idx="237">
                  <c:v>449</c:v>
                </c:pt>
                <c:pt idx="238">
                  <c:v>448</c:v>
                </c:pt>
                <c:pt idx="239">
                  <c:v>446</c:v>
                </c:pt>
                <c:pt idx="240">
                  <c:v>445</c:v>
                </c:pt>
                <c:pt idx="241">
                  <c:v>445</c:v>
                </c:pt>
                <c:pt idx="242">
                  <c:v>439</c:v>
                </c:pt>
                <c:pt idx="243">
                  <c:v>439</c:v>
                </c:pt>
                <c:pt idx="244">
                  <c:v>441</c:v>
                </c:pt>
                <c:pt idx="245">
                  <c:v>436</c:v>
                </c:pt>
                <c:pt idx="246">
                  <c:v>433</c:v>
                </c:pt>
                <c:pt idx="247">
                  <c:v>427</c:v>
                </c:pt>
                <c:pt idx="248">
                  <c:v>426</c:v>
                </c:pt>
                <c:pt idx="249">
                  <c:v>419</c:v>
                </c:pt>
                <c:pt idx="250">
                  <c:v>422</c:v>
                </c:pt>
                <c:pt idx="251">
                  <c:v>426</c:v>
                </c:pt>
                <c:pt idx="252">
                  <c:v>426</c:v>
                </c:pt>
                <c:pt idx="253">
                  <c:v>423</c:v>
                </c:pt>
                <c:pt idx="254">
                  <c:v>423</c:v>
                </c:pt>
                <c:pt idx="255">
                  <c:v>423</c:v>
                </c:pt>
                <c:pt idx="256">
                  <c:v>419</c:v>
                </c:pt>
                <c:pt idx="257">
                  <c:v>418</c:v>
                </c:pt>
                <c:pt idx="258">
                  <c:v>420</c:v>
                </c:pt>
                <c:pt idx="259">
                  <c:v>416</c:v>
                </c:pt>
                <c:pt idx="260">
                  <c:v>418</c:v>
                </c:pt>
                <c:pt idx="261">
                  <c:v>415</c:v>
                </c:pt>
                <c:pt idx="262">
                  <c:v>414</c:v>
                </c:pt>
                <c:pt idx="263">
                  <c:v>413</c:v>
                </c:pt>
                <c:pt idx="264">
                  <c:v>412</c:v>
                </c:pt>
                <c:pt idx="265">
                  <c:v>413</c:v>
                </c:pt>
                <c:pt idx="266">
                  <c:v>412</c:v>
                </c:pt>
                <c:pt idx="267">
                  <c:v>411</c:v>
                </c:pt>
                <c:pt idx="268">
                  <c:v>409</c:v>
                </c:pt>
                <c:pt idx="269">
                  <c:v>408</c:v>
                </c:pt>
                <c:pt idx="270">
                  <c:v>408</c:v>
                </c:pt>
                <c:pt idx="271">
                  <c:v>405</c:v>
                </c:pt>
                <c:pt idx="272">
                  <c:v>405</c:v>
                </c:pt>
                <c:pt idx="273">
                  <c:v>403</c:v>
                </c:pt>
                <c:pt idx="274">
                  <c:v>406</c:v>
                </c:pt>
                <c:pt idx="275">
                  <c:v>402</c:v>
                </c:pt>
                <c:pt idx="276">
                  <c:v>398</c:v>
                </c:pt>
                <c:pt idx="277">
                  <c:v>397</c:v>
                </c:pt>
                <c:pt idx="278">
                  <c:v>397</c:v>
                </c:pt>
                <c:pt idx="279">
                  <c:v>398</c:v>
                </c:pt>
                <c:pt idx="280">
                  <c:v>398</c:v>
                </c:pt>
                <c:pt idx="281">
                  <c:v>397</c:v>
                </c:pt>
                <c:pt idx="282">
                  <c:v>396</c:v>
                </c:pt>
                <c:pt idx="283">
                  <c:v>397</c:v>
                </c:pt>
                <c:pt idx="284">
                  <c:v>395</c:v>
                </c:pt>
                <c:pt idx="285">
                  <c:v>394</c:v>
                </c:pt>
                <c:pt idx="286">
                  <c:v>394</c:v>
                </c:pt>
                <c:pt idx="287">
                  <c:v>394</c:v>
                </c:pt>
                <c:pt idx="288">
                  <c:v>394</c:v>
                </c:pt>
                <c:pt idx="289">
                  <c:v>394</c:v>
                </c:pt>
                <c:pt idx="290">
                  <c:v>394</c:v>
                </c:pt>
                <c:pt idx="291">
                  <c:v>394</c:v>
                </c:pt>
                <c:pt idx="292">
                  <c:v>394</c:v>
                </c:pt>
                <c:pt idx="293">
                  <c:v>394</c:v>
                </c:pt>
                <c:pt idx="294">
                  <c:v>394</c:v>
                </c:pt>
                <c:pt idx="295">
                  <c:v>395</c:v>
                </c:pt>
                <c:pt idx="296">
                  <c:v>395</c:v>
                </c:pt>
                <c:pt idx="297">
                  <c:v>394</c:v>
                </c:pt>
                <c:pt idx="298">
                  <c:v>394</c:v>
                </c:pt>
                <c:pt idx="299">
                  <c:v>394</c:v>
                </c:pt>
                <c:pt idx="300">
                  <c:v>394</c:v>
                </c:pt>
                <c:pt idx="301">
                  <c:v>394</c:v>
                </c:pt>
                <c:pt idx="302">
                  <c:v>393</c:v>
                </c:pt>
                <c:pt idx="303">
                  <c:v>394</c:v>
                </c:pt>
                <c:pt idx="304">
                  <c:v>392</c:v>
                </c:pt>
                <c:pt idx="305">
                  <c:v>392</c:v>
                </c:pt>
                <c:pt idx="306">
                  <c:v>393</c:v>
                </c:pt>
                <c:pt idx="307">
                  <c:v>393</c:v>
                </c:pt>
                <c:pt idx="308">
                  <c:v>394</c:v>
                </c:pt>
                <c:pt idx="309">
                  <c:v>394</c:v>
                </c:pt>
                <c:pt idx="310">
                  <c:v>393</c:v>
                </c:pt>
                <c:pt idx="311">
                  <c:v>393</c:v>
                </c:pt>
                <c:pt idx="312">
                  <c:v>393</c:v>
                </c:pt>
                <c:pt idx="313">
                  <c:v>393</c:v>
                </c:pt>
                <c:pt idx="314">
                  <c:v>393</c:v>
                </c:pt>
                <c:pt idx="315">
                  <c:v>393</c:v>
                </c:pt>
                <c:pt idx="316">
                  <c:v>393</c:v>
                </c:pt>
                <c:pt idx="317">
                  <c:v>393</c:v>
                </c:pt>
                <c:pt idx="318">
                  <c:v>393</c:v>
                </c:pt>
                <c:pt idx="319">
                  <c:v>393</c:v>
                </c:pt>
                <c:pt idx="320">
                  <c:v>393</c:v>
                </c:pt>
                <c:pt idx="321">
                  <c:v>393</c:v>
                </c:pt>
                <c:pt idx="322">
                  <c:v>392</c:v>
                </c:pt>
                <c:pt idx="323">
                  <c:v>392</c:v>
                </c:pt>
                <c:pt idx="324">
                  <c:v>392</c:v>
                </c:pt>
                <c:pt idx="325">
                  <c:v>392</c:v>
                </c:pt>
                <c:pt idx="326">
                  <c:v>393</c:v>
                </c:pt>
                <c:pt idx="327">
                  <c:v>392</c:v>
                </c:pt>
                <c:pt idx="328">
                  <c:v>392</c:v>
                </c:pt>
                <c:pt idx="329">
                  <c:v>392</c:v>
                </c:pt>
                <c:pt idx="330">
                  <c:v>392</c:v>
                </c:pt>
                <c:pt idx="331">
                  <c:v>392</c:v>
                </c:pt>
                <c:pt idx="332">
                  <c:v>392</c:v>
                </c:pt>
                <c:pt idx="333">
                  <c:v>392</c:v>
                </c:pt>
                <c:pt idx="334">
                  <c:v>392</c:v>
                </c:pt>
                <c:pt idx="335">
                  <c:v>392</c:v>
                </c:pt>
                <c:pt idx="336">
                  <c:v>391</c:v>
                </c:pt>
                <c:pt idx="337">
                  <c:v>391</c:v>
                </c:pt>
                <c:pt idx="338">
                  <c:v>391</c:v>
                </c:pt>
                <c:pt idx="339">
                  <c:v>391</c:v>
                </c:pt>
                <c:pt idx="340">
                  <c:v>391</c:v>
                </c:pt>
                <c:pt idx="341">
                  <c:v>391</c:v>
                </c:pt>
                <c:pt idx="342">
                  <c:v>391</c:v>
                </c:pt>
                <c:pt idx="343">
                  <c:v>391</c:v>
                </c:pt>
                <c:pt idx="344">
                  <c:v>391</c:v>
                </c:pt>
                <c:pt idx="345">
                  <c:v>391</c:v>
                </c:pt>
                <c:pt idx="346">
                  <c:v>391</c:v>
                </c:pt>
                <c:pt idx="347">
                  <c:v>391</c:v>
                </c:pt>
                <c:pt idx="348">
                  <c:v>391</c:v>
                </c:pt>
                <c:pt idx="349">
                  <c:v>392</c:v>
                </c:pt>
                <c:pt idx="350">
                  <c:v>393</c:v>
                </c:pt>
                <c:pt idx="351">
                  <c:v>393</c:v>
                </c:pt>
                <c:pt idx="352">
                  <c:v>394</c:v>
                </c:pt>
                <c:pt idx="353">
                  <c:v>393</c:v>
                </c:pt>
                <c:pt idx="354">
                  <c:v>393</c:v>
                </c:pt>
                <c:pt idx="355">
                  <c:v>393</c:v>
                </c:pt>
                <c:pt idx="356">
                  <c:v>395</c:v>
                </c:pt>
                <c:pt idx="357">
                  <c:v>395</c:v>
                </c:pt>
                <c:pt idx="358">
                  <c:v>395</c:v>
                </c:pt>
                <c:pt idx="359">
                  <c:v>395</c:v>
                </c:pt>
                <c:pt idx="360">
                  <c:v>395</c:v>
                </c:pt>
                <c:pt idx="361">
                  <c:v>394</c:v>
                </c:pt>
                <c:pt idx="362">
                  <c:v>394</c:v>
                </c:pt>
                <c:pt idx="363">
                  <c:v>394</c:v>
                </c:pt>
                <c:pt idx="364">
                  <c:v>394</c:v>
                </c:pt>
                <c:pt idx="365">
                  <c:v>395</c:v>
                </c:pt>
                <c:pt idx="366">
                  <c:v>399</c:v>
                </c:pt>
                <c:pt idx="367">
                  <c:v>401</c:v>
                </c:pt>
                <c:pt idx="368">
                  <c:v>402</c:v>
                </c:pt>
                <c:pt idx="369">
                  <c:v>401</c:v>
                </c:pt>
                <c:pt idx="370">
                  <c:v>405</c:v>
                </c:pt>
                <c:pt idx="371">
                  <c:v>402</c:v>
                </c:pt>
                <c:pt idx="372">
                  <c:v>402</c:v>
                </c:pt>
                <c:pt idx="373">
                  <c:v>402</c:v>
                </c:pt>
                <c:pt idx="374">
                  <c:v>402</c:v>
                </c:pt>
                <c:pt idx="375">
                  <c:v>402</c:v>
                </c:pt>
                <c:pt idx="376">
                  <c:v>402</c:v>
                </c:pt>
                <c:pt idx="377">
                  <c:v>403</c:v>
                </c:pt>
                <c:pt idx="378">
                  <c:v>403</c:v>
                </c:pt>
                <c:pt idx="379">
                  <c:v>403</c:v>
                </c:pt>
                <c:pt idx="380">
                  <c:v>402</c:v>
                </c:pt>
                <c:pt idx="381">
                  <c:v>400</c:v>
                </c:pt>
                <c:pt idx="382">
                  <c:v>400</c:v>
                </c:pt>
                <c:pt idx="383">
                  <c:v>400</c:v>
                </c:pt>
                <c:pt idx="384">
                  <c:v>401</c:v>
                </c:pt>
                <c:pt idx="385">
                  <c:v>398</c:v>
                </c:pt>
                <c:pt idx="386">
                  <c:v>398</c:v>
                </c:pt>
                <c:pt idx="387">
                  <c:v>396</c:v>
                </c:pt>
                <c:pt idx="388">
                  <c:v>396</c:v>
                </c:pt>
                <c:pt idx="389">
                  <c:v>396</c:v>
                </c:pt>
                <c:pt idx="390">
                  <c:v>396</c:v>
                </c:pt>
                <c:pt idx="391">
                  <c:v>398</c:v>
                </c:pt>
                <c:pt idx="392">
                  <c:v>396</c:v>
                </c:pt>
                <c:pt idx="393">
                  <c:v>397</c:v>
                </c:pt>
                <c:pt idx="394">
                  <c:v>397</c:v>
                </c:pt>
                <c:pt idx="395">
                  <c:v>398</c:v>
                </c:pt>
                <c:pt idx="396">
                  <c:v>399</c:v>
                </c:pt>
                <c:pt idx="397">
                  <c:v>400</c:v>
                </c:pt>
                <c:pt idx="398">
                  <c:v>402</c:v>
                </c:pt>
                <c:pt idx="399">
                  <c:v>404</c:v>
                </c:pt>
                <c:pt idx="400">
                  <c:v>412</c:v>
                </c:pt>
                <c:pt idx="401">
                  <c:v>411</c:v>
                </c:pt>
                <c:pt idx="402">
                  <c:v>436</c:v>
                </c:pt>
                <c:pt idx="403">
                  <c:v>436</c:v>
                </c:pt>
                <c:pt idx="404">
                  <c:v>436</c:v>
                </c:pt>
                <c:pt idx="405">
                  <c:v>437</c:v>
                </c:pt>
                <c:pt idx="406">
                  <c:v>438</c:v>
                </c:pt>
                <c:pt idx="407">
                  <c:v>456</c:v>
                </c:pt>
                <c:pt idx="408">
                  <c:v>458</c:v>
                </c:pt>
                <c:pt idx="409">
                  <c:v>458</c:v>
                </c:pt>
                <c:pt idx="410">
                  <c:v>458</c:v>
                </c:pt>
                <c:pt idx="411">
                  <c:v>457</c:v>
                </c:pt>
                <c:pt idx="412">
                  <c:v>461</c:v>
                </c:pt>
                <c:pt idx="413">
                  <c:v>462</c:v>
                </c:pt>
                <c:pt idx="414">
                  <c:v>456</c:v>
                </c:pt>
                <c:pt idx="415">
                  <c:v>456</c:v>
                </c:pt>
                <c:pt idx="416">
                  <c:v>439</c:v>
                </c:pt>
                <c:pt idx="417">
                  <c:v>438</c:v>
                </c:pt>
                <c:pt idx="418">
                  <c:v>436</c:v>
                </c:pt>
                <c:pt idx="419">
                  <c:v>449</c:v>
                </c:pt>
                <c:pt idx="420">
                  <c:v>457</c:v>
                </c:pt>
                <c:pt idx="421">
                  <c:v>465</c:v>
                </c:pt>
                <c:pt idx="422">
                  <c:v>449</c:v>
                </c:pt>
                <c:pt idx="423">
                  <c:v>467</c:v>
                </c:pt>
                <c:pt idx="424">
                  <c:v>470</c:v>
                </c:pt>
                <c:pt idx="425">
                  <c:v>479</c:v>
                </c:pt>
                <c:pt idx="426">
                  <c:v>514</c:v>
                </c:pt>
                <c:pt idx="427">
                  <c:v>526</c:v>
                </c:pt>
                <c:pt idx="428">
                  <c:v>530</c:v>
                </c:pt>
                <c:pt idx="429">
                  <c:v>578</c:v>
                </c:pt>
                <c:pt idx="430">
                  <c:v>597</c:v>
                </c:pt>
                <c:pt idx="431">
                  <c:v>591</c:v>
                </c:pt>
                <c:pt idx="432">
                  <c:v>590</c:v>
                </c:pt>
                <c:pt idx="433">
                  <c:v>615</c:v>
                </c:pt>
                <c:pt idx="434">
                  <c:v>630</c:v>
                </c:pt>
                <c:pt idx="435">
                  <c:v>637</c:v>
                </c:pt>
                <c:pt idx="436">
                  <c:v>645</c:v>
                </c:pt>
                <c:pt idx="437">
                  <c:v>656</c:v>
                </c:pt>
                <c:pt idx="438">
                  <c:v>653</c:v>
                </c:pt>
                <c:pt idx="439">
                  <c:v>659</c:v>
                </c:pt>
                <c:pt idx="440">
                  <c:v>688</c:v>
                </c:pt>
                <c:pt idx="441">
                  <c:v>690</c:v>
                </c:pt>
                <c:pt idx="442">
                  <c:v>694</c:v>
                </c:pt>
                <c:pt idx="443">
                  <c:v>724</c:v>
                </c:pt>
                <c:pt idx="444">
                  <c:v>779</c:v>
                </c:pt>
                <c:pt idx="445">
                  <c:v>782</c:v>
                </c:pt>
                <c:pt idx="446">
                  <c:v>779</c:v>
                </c:pt>
                <c:pt idx="447">
                  <c:v>821</c:v>
                </c:pt>
                <c:pt idx="448">
                  <c:v>807</c:v>
                </c:pt>
                <c:pt idx="449">
                  <c:v>815</c:v>
                </c:pt>
                <c:pt idx="450">
                  <c:v>815</c:v>
                </c:pt>
                <c:pt idx="451">
                  <c:v>848</c:v>
                </c:pt>
                <c:pt idx="452">
                  <c:v>833</c:v>
                </c:pt>
                <c:pt idx="453">
                  <c:v>834</c:v>
                </c:pt>
                <c:pt idx="454">
                  <c:v>866</c:v>
                </c:pt>
                <c:pt idx="455">
                  <c:v>846</c:v>
                </c:pt>
                <c:pt idx="456">
                  <c:v>820</c:v>
                </c:pt>
                <c:pt idx="457">
                  <c:v>822</c:v>
                </c:pt>
                <c:pt idx="458">
                  <c:v>717</c:v>
                </c:pt>
                <c:pt idx="459">
                  <c:v>737</c:v>
                </c:pt>
                <c:pt idx="460">
                  <c:v>717</c:v>
                </c:pt>
                <c:pt idx="461">
                  <c:v>737</c:v>
                </c:pt>
                <c:pt idx="462">
                  <c:v>712</c:v>
                </c:pt>
                <c:pt idx="463">
                  <c:v>703</c:v>
                </c:pt>
                <c:pt idx="464">
                  <c:v>692</c:v>
                </c:pt>
                <c:pt idx="465">
                  <c:v>650</c:v>
                </c:pt>
                <c:pt idx="466">
                  <c:v>635</c:v>
                </c:pt>
                <c:pt idx="467">
                  <c:v>633</c:v>
                </c:pt>
                <c:pt idx="468">
                  <c:v>642</c:v>
                </c:pt>
                <c:pt idx="469">
                  <c:v>628</c:v>
                </c:pt>
                <c:pt idx="470">
                  <c:v>621</c:v>
                </c:pt>
                <c:pt idx="471">
                  <c:v>596</c:v>
                </c:pt>
                <c:pt idx="472">
                  <c:v>579</c:v>
                </c:pt>
                <c:pt idx="473">
                  <c:v>531</c:v>
                </c:pt>
                <c:pt idx="474">
                  <c:v>532</c:v>
                </c:pt>
                <c:pt idx="475">
                  <c:v>544</c:v>
                </c:pt>
                <c:pt idx="476">
                  <c:v>518</c:v>
                </c:pt>
                <c:pt idx="477">
                  <c:v>499</c:v>
                </c:pt>
                <c:pt idx="478">
                  <c:v>468</c:v>
                </c:pt>
                <c:pt idx="479">
                  <c:v>446</c:v>
                </c:pt>
                <c:pt idx="480">
                  <c:v>435</c:v>
                </c:pt>
                <c:pt idx="481">
                  <c:v>430</c:v>
                </c:pt>
                <c:pt idx="482">
                  <c:v>439</c:v>
                </c:pt>
                <c:pt idx="483">
                  <c:v>413</c:v>
                </c:pt>
                <c:pt idx="484">
                  <c:v>408</c:v>
                </c:pt>
                <c:pt idx="485">
                  <c:v>393</c:v>
                </c:pt>
                <c:pt idx="486">
                  <c:v>386</c:v>
                </c:pt>
                <c:pt idx="487">
                  <c:v>378</c:v>
                </c:pt>
                <c:pt idx="488">
                  <c:v>373</c:v>
                </c:pt>
                <c:pt idx="489">
                  <c:v>375</c:v>
                </c:pt>
                <c:pt idx="490">
                  <c:v>363</c:v>
                </c:pt>
                <c:pt idx="491">
                  <c:v>361</c:v>
                </c:pt>
                <c:pt idx="492">
                  <c:v>360</c:v>
                </c:pt>
                <c:pt idx="493">
                  <c:v>357</c:v>
                </c:pt>
                <c:pt idx="494">
                  <c:v>355</c:v>
                </c:pt>
                <c:pt idx="495">
                  <c:v>354</c:v>
                </c:pt>
                <c:pt idx="496">
                  <c:v>353</c:v>
                </c:pt>
                <c:pt idx="497">
                  <c:v>345</c:v>
                </c:pt>
                <c:pt idx="498">
                  <c:v>346</c:v>
                </c:pt>
                <c:pt idx="499">
                  <c:v>343</c:v>
                </c:pt>
                <c:pt idx="500">
                  <c:v>345</c:v>
                </c:pt>
                <c:pt idx="501">
                  <c:v>342</c:v>
                </c:pt>
                <c:pt idx="502">
                  <c:v>345</c:v>
                </c:pt>
                <c:pt idx="503">
                  <c:v>365</c:v>
                </c:pt>
                <c:pt idx="504">
                  <c:v>374</c:v>
                </c:pt>
                <c:pt idx="505">
                  <c:v>373</c:v>
                </c:pt>
                <c:pt idx="506">
                  <c:v>390</c:v>
                </c:pt>
                <c:pt idx="507">
                  <c:v>394</c:v>
                </c:pt>
                <c:pt idx="508">
                  <c:v>414</c:v>
                </c:pt>
                <c:pt idx="509">
                  <c:v>418</c:v>
                </c:pt>
                <c:pt idx="510">
                  <c:v>455</c:v>
                </c:pt>
                <c:pt idx="511">
                  <c:v>490</c:v>
                </c:pt>
                <c:pt idx="512">
                  <c:v>526</c:v>
                </c:pt>
                <c:pt idx="513">
                  <c:v>547</c:v>
                </c:pt>
                <c:pt idx="514">
                  <c:v>585</c:v>
                </c:pt>
                <c:pt idx="515">
                  <c:v>581</c:v>
                </c:pt>
                <c:pt idx="516">
                  <c:v>577</c:v>
                </c:pt>
                <c:pt idx="517">
                  <c:v>601</c:v>
                </c:pt>
                <c:pt idx="518">
                  <c:v>620</c:v>
                </c:pt>
                <c:pt idx="519">
                  <c:v>643</c:v>
                </c:pt>
                <c:pt idx="520">
                  <c:v>655</c:v>
                </c:pt>
                <c:pt idx="521">
                  <c:v>675</c:v>
                </c:pt>
                <c:pt idx="522">
                  <c:v>637</c:v>
                </c:pt>
                <c:pt idx="523">
                  <c:v>613</c:v>
                </c:pt>
                <c:pt idx="524">
                  <c:v>646</c:v>
                </c:pt>
                <c:pt idx="525">
                  <c:v>644</c:v>
                </c:pt>
                <c:pt idx="526">
                  <c:v>662</c:v>
                </c:pt>
                <c:pt idx="527">
                  <c:v>695</c:v>
                </c:pt>
                <c:pt idx="528">
                  <c:v>711</c:v>
                </c:pt>
                <c:pt idx="529">
                  <c:v>660</c:v>
                </c:pt>
                <c:pt idx="530">
                  <c:v>638</c:v>
                </c:pt>
                <c:pt idx="531">
                  <c:v>661</c:v>
                </c:pt>
                <c:pt idx="532">
                  <c:v>650</c:v>
                </c:pt>
                <c:pt idx="533">
                  <c:v>688</c:v>
                </c:pt>
                <c:pt idx="534">
                  <c:v>747</c:v>
                </c:pt>
                <c:pt idx="535">
                  <c:v>698</c:v>
                </c:pt>
                <c:pt idx="536">
                  <c:v>634</c:v>
                </c:pt>
                <c:pt idx="537">
                  <c:v>621</c:v>
                </c:pt>
                <c:pt idx="538">
                  <c:v>590</c:v>
                </c:pt>
                <c:pt idx="539">
                  <c:v>561</c:v>
                </c:pt>
                <c:pt idx="540">
                  <c:v>590</c:v>
                </c:pt>
                <c:pt idx="541">
                  <c:v>598</c:v>
                </c:pt>
                <c:pt idx="542">
                  <c:v>555</c:v>
                </c:pt>
                <c:pt idx="543">
                  <c:v>511</c:v>
                </c:pt>
                <c:pt idx="544">
                  <c:v>417</c:v>
                </c:pt>
                <c:pt idx="545">
                  <c:v>389</c:v>
                </c:pt>
                <c:pt idx="546">
                  <c:v>378</c:v>
                </c:pt>
                <c:pt idx="547">
                  <c:v>396</c:v>
                </c:pt>
                <c:pt idx="548">
                  <c:v>403</c:v>
                </c:pt>
                <c:pt idx="549">
                  <c:v>378</c:v>
                </c:pt>
                <c:pt idx="550">
                  <c:v>309</c:v>
                </c:pt>
                <c:pt idx="551">
                  <c:v>282</c:v>
                </c:pt>
                <c:pt idx="552">
                  <c:v>258</c:v>
                </c:pt>
                <c:pt idx="553">
                  <c:v>285</c:v>
                </c:pt>
                <c:pt idx="554">
                  <c:v>295</c:v>
                </c:pt>
                <c:pt idx="555">
                  <c:v>298</c:v>
                </c:pt>
                <c:pt idx="556">
                  <c:v>2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DC7-418F-9894-CC9725FB542B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ersoná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558</c:f>
              <c:numCache>
                <c:formatCode>m/d/yyyy</c:formatCode>
                <c:ptCount val="55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</c:numCache>
            </c:numRef>
          </c:cat>
          <c:val>
            <c:numRef>
              <c:f>List1!$C$2:$C$558</c:f>
              <c:numCache>
                <c:formatCode>General</c:formatCode>
                <c:ptCount val="557"/>
                <c:pt idx="0">
                  <c:v>3</c:v>
                </c:pt>
                <c:pt idx="1">
                  <c:v>1</c:v>
                </c:pt>
                <c:pt idx="2">
                  <c:v>1</c:v>
                </c:pt>
                <c:pt idx="3">
                  <c:v>5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4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3</c:v>
                </c:pt>
                <c:pt idx="13">
                  <c:v>7</c:v>
                </c:pt>
                <c:pt idx="14">
                  <c:v>7</c:v>
                </c:pt>
                <c:pt idx="15">
                  <c:v>8</c:v>
                </c:pt>
                <c:pt idx="16">
                  <c:v>9</c:v>
                </c:pt>
                <c:pt idx="17">
                  <c:v>9</c:v>
                </c:pt>
                <c:pt idx="18">
                  <c:v>10</c:v>
                </c:pt>
                <c:pt idx="19">
                  <c:v>12</c:v>
                </c:pt>
                <c:pt idx="20">
                  <c:v>13</c:v>
                </c:pt>
                <c:pt idx="21">
                  <c:v>17</c:v>
                </c:pt>
                <c:pt idx="22">
                  <c:v>14</c:v>
                </c:pt>
                <c:pt idx="23">
                  <c:v>18</c:v>
                </c:pt>
                <c:pt idx="24">
                  <c:v>29</c:v>
                </c:pt>
                <c:pt idx="25">
                  <c:v>33</c:v>
                </c:pt>
                <c:pt idx="26">
                  <c:v>34</c:v>
                </c:pt>
                <c:pt idx="27">
                  <c:v>39</c:v>
                </c:pt>
                <c:pt idx="28">
                  <c:v>59</c:v>
                </c:pt>
                <c:pt idx="29">
                  <c:v>61</c:v>
                </c:pt>
                <c:pt idx="30">
                  <c:v>89</c:v>
                </c:pt>
                <c:pt idx="31">
                  <c:v>181</c:v>
                </c:pt>
                <c:pt idx="32">
                  <c:v>205</c:v>
                </c:pt>
                <c:pt idx="33">
                  <c:v>219</c:v>
                </c:pt>
                <c:pt idx="34">
                  <c:v>310</c:v>
                </c:pt>
                <c:pt idx="35">
                  <c:v>349</c:v>
                </c:pt>
                <c:pt idx="36">
                  <c:v>374</c:v>
                </c:pt>
                <c:pt idx="37">
                  <c:v>458</c:v>
                </c:pt>
                <c:pt idx="38">
                  <c:v>544</c:v>
                </c:pt>
                <c:pt idx="39">
                  <c:v>581</c:v>
                </c:pt>
                <c:pt idx="40">
                  <c:v>596</c:v>
                </c:pt>
                <c:pt idx="41">
                  <c:v>739</c:v>
                </c:pt>
                <c:pt idx="42">
                  <c:v>865</c:v>
                </c:pt>
                <c:pt idx="43">
                  <c:v>1038</c:v>
                </c:pt>
                <c:pt idx="44">
                  <c:v>1220</c:v>
                </c:pt>
                <c:pt idx="45">
                  <c:v>1391</c:v>
                </c:pt>
                <c:pt idx="46">
                  <c:v>1461</c:v>
                </c:pt>
                <c:pt idx="47">
                  <c:v>1455</c:v>
                </c:pt>
                <c:pt idx="48">
                  <c:v>1604</c:v>
                </c:pt>
                <c:pt idx="49">
                  <c:v>1749</c:v>
                </c:pt>
                <c:pt idx="50">
                  <c:v>1981</c:v>
                </c:pt>
                <c:pt idx="51">
                  <c:v>2144</c:v>
                </c:pt>
                <c:pt idx="52">
                  <c:v>2417</c:v>
                </c:pt>
                <c:pt idx="53">
                  <c:v>2488</c:v>
                </c:pt>
                <c:pt idx="54">
                  <c:v>2455</c:v>
                </c:pt>
                <c:pt idx="55">
                  <c:v>2625</c:v>
                </c:pt>
                <c:pt idx="56">
                  <c:v>2818</c:v>
                </c:pt>
                <c:pt idx="57">
                  <c:v>2834</c:v>
                </c:pt>
                <c:pt idx="58">
                  <c:v>3246</c:v>
                </c:pt>
                <c:pt idx="59">
                  <c:v>3393</c:v>
                </c:pt>
                <c:pt idx="60">
                  <c:v>3306</c:v>
                </c:pt>
                <c:pt idx="61">
                  <c:v>3148</c:v>
                </c:pt>
                <c:pt idx="62">
                  <c:v>3179</c:v>
                </c:pt>
                <c:pt idx="63">
                  <c:v>3113</c:v>
                </c:pt>
                <c:pt idx="64">
                  <c:v>3312</c:v>
                </c:pt>
                <c:pt idx="65">
                  <c:v>3495</c:v>
                </c:pt>
                <c:pt idx="66">
                  <c:v>3314</c:v>
                </c:pt>
                <c:pt idx="67">
                  <c:v>3066</c:v>
                </c:pt>
                <c:pt idx="68">
                  <c:v>2967</c:v>
                </c:pt>
                <c:pt idx="69">
                  <c:v>2822</c:v>
                </c:pt>
                <c:pt idx="70">
                  <c:v>2683</c:v>
                </c:pt>
                <c:pt idx="71">
                  <c:v>2814</c:v>
                </c:pt>
                <c:pt idx="72">
                  <c:v>2949</c:v>
                </c:pt>
                <c:pt idx="73">
                  <c:v>2854</c:v>
                </c:pt>
                <c:pt idx="74">
                  <c:v>2654</c:v>
                </c:pt>
                <c:pt idx="75">
                  <c:v>2413</c:v>
                </c:pt>
                <c:pt idx="76">
                  <c:v>2387</c:v>
                </c:pt>
                <c:pt idx="77">
                  <c:v>2232</c:v>
                </c:pt>
                <c:pt idx="78">
                  <c:v>2335</c:v>
                </c:pt>
                <c:pt idx="79">
                  <c:v>2417</c:v>
                </c:pt>
                <c:pt idx="80">
                  <c:v>2368</c:v>
                </c:pt>
                <c:pt idx="81">
                  <c:v>2113</c:v>
                </c:pt>
                <c:pt idx="82">
                  <c:v>1929</c:v>
                </c:pt>
                <c:pt idx="83">
                  <c:v>1917</c:v>
                </c:pt>
                <c:pt idx="84">
                  <c:v>1860</c:v>
                </c:pt>
                <c:pt idx="85">
                  <c:v>1887</c:v>
                </c:pt>
                <c:pt idx="86">
                  <c:v>1913</c:v>
                </c:pt>
                <c:pt idx="87">
                  <c:v>1870</c:v>
                </c:pt>
                <c:pt idx="88">
                  <c:v>1830</c:v>
                </c:pt>
                <c:pt idx="89">
                  <c:v>1685</c:v>
                </c:pt>
                <c:pt idx="90">
                  <c:v>1668</c:v>
                </c:pt>
                <c:pt idx="91">
                  <c:v>1664</c:v>
                </c:pt>
                <c:pt idx="92">
                  <c:v>1718</c:v>
                </c:pt>
                <c:pt idx="93">
                  <c:v>1760</c:v>
                </c:pt>
                <c:pt idx="94">
                  <c:v>1695</c:v>
                </c:pt>
                <c:pt idx="95">
                  <c:v>1633</c:v>
                </c:pt>
                <c:pt idx="96">
                  <c:v>1562</c:v>
                </c:pt>
                <c:pt idx="97">
                  <c:v>1622</c:v>
                </c:pt>
                <c:pt idx="98">
                  <c:v>1613</c:v>
                </c:pt>
                <c:pt idx="99">
                  <c:v>1654</c:v>
                </c:pt>
                <c:pt idx="100">
                  <c:v>1704</c:v>
                </c:pt>
                <c:pt idx="101">
                  <c:v>1685</c:v>
                </c:pt>
                <c:pt idx="102">
                  <c:v>1613</c:v>
                </c:pt>
                <c:pt idx="103">
                  <c:v>1574</c:v>
                </c:pt>
                <c:pt idx="104">
                  <c:v>1620</c:v>
                </c:pt>
                <c:pt idx="105">
                  <c:v>1625</c:v>
                </c:pt>
                <c:pt idx="106">
                  <c:v>1696</c:v>
                </c:pt>
                <c:pt idx="107">
                  <c:v>1734</c:v>
                </c:pt>
                <c:pt idx="108">
                  <c:v>1690</c:v>
                </c:pt>
                <c:pt idx="109">
                  <c:v>1639</c:v>
                </c:pt>
                <c:pt idx="110">
                  <c:v>1591</c:v>
                </c:pt>
                <c:pt idx="111">
                  <c:v>1699</c:v>
                </c:pt>
                <c:pt idx="112">
                  <c:v>1751</c:v>
                </c:pt>
                <c:pt idx="113">
                  <c:v>1850</c:v>
                </c:pt>
                <c:pt idx="114">
                  <c:v>1869</c:v>
                </c:pt>
                <c:pt idx="115">
                  <c:v>1821</c:v>
                </c:pt>
                <c:pt idx="116">
                  <c:v>1780</c:v>
                </c:pt>
                <c:pt idx="117">
                  <c:v>1750</c:v>
                </c:pt>
                <c:pt idx="118">
                  <c:v>1868</c:v>
                </c:pt>
                <c:pt idx="119">
                  <c:v>1960</c:v>
                </c:pt>
                <c:pt idx="120">
                  <c:v>2038</c:v>
                </c:pt>
                <c:pt idx="121">
                  <c:v>2113</c:v>
                </c:pt>
                <c:pt idx="122">
                  <c:v>2021</c:v>
                </c:pt>
                <c:pt idx="123">
                  <c:v>1955</c:v>
                </c:pt>
                <c:pt idx="124">
                  <c:v>1889</c:v>
                </c:pt>
                <c:pt idx="125">
                  <c:v>2179</c:v>
                </c:pt>
                <c:pt idx="126">
                  <c:v>2307</c:v>
                </c:pt>
                <c:pt idx="127">
                  <c:v>2393</c:v>
                </c:pt>
                <c:pt idx="128">
                  <c:v>2462</c:v>
                </c:pt>
                <c:pt idx="129">
                  <c:v>2373</c:v>
                </c:pt>
                <c:pt idx="130">
                  <c:v>2265</c:v>
                </c:pt>
                <c:pt idx="131">
                  <c:v>2141</c:v>
                </c:pt>
                <c:pt idx="132">
                  <c:v>2302</c:v>
                </c:pt>
                <c:pt idx="133">
                  <c:v>2388</c:v>
                </c:pt>
                <c:pt idx="134">
                  <c:v>2464</c:v>
                </c:pt>
                <c:pt idx="135">
                  <c:v>2470</c:v>
                </c:pt>
                <c:pt idx="136">
                  <c:v>2330</c:v>
                </c:pt>
                <c:pt idx="137">
                  <c:v>2188</c:v>
                </c:pt>
                <c:pt idx="138">
                  <c:v>2079</c:v>
                </c:pt>
                <c:pt idx="139">
                  <c:v>2083</c:v>
                </c:pt>
                <c:pt idx="140">
                  <c:v>2032</c:v>
                </c:pt>
                <c:pt idx="141">
                  <c:v>2065</c:v>
                </c:pt>
                <c:pt idx="142">
                  <c:v>2103</c:v>
                </c:pt>
                <c:pt idx="143">
                  <c:v>2011</c:v>
                </c:pt>
                <c:pt idx="144">
                  <c:v>1935</c:v>
                </c:pt>
                <c:pt idx="145">
                  <c:v>1826</c:v>
                </c:pt>
                <c:pt idx="146">
                  <c:v>1839</c:v>
                </c:pt>
                <c:pt idx="147">
                  <c:v>1846</c:v>
                </c:pt>
                <c:pt idx="148">
                  <c:v>1872</c:v>
                </c:pt>
                <c:pt idx="149">
                  <c:v>1886</c:v>
                </c:pt>
                <c:pt idx="150">
                  <c:v>1806</c:v>
                </c:pt>
                <c:pt idx="151">
                  <c:v>1738</c:v>
                </c:pt>
                <c:pt idx="152">
                  <c:v>1666</c:v>
                </c:pt>
                <c:pt idx="153">
                  <c:v>1689</c:v>
                </c:pt>
                <c:pt idx="154">
                  <c:v>1687</c:v>
                </c:pt>
                <c:pt idx="155">
                  <c:v>1727</c:v>
                </c:pt>
                <c:pt idx="156">
                  <c:v>1752</c:v>
                </c:pt>
                <c:pt idx="157">
                  <c:v>1699</c:v>
                </c:pt>
                <c:pt idx="158">
                  <c:v>1631</c:v>
                </c:pt>
                <c:pt idx="159">
                  <c:v>1587</c:v>
                </c:pt>
                <c:pt idx="160">
                  <c:v>1615</c:v>
                </c:pt>
                <c:pt idx="161">
                  <c:v>1583</c:v>
                </c:pt>
                <c:pt idx="162">
                  <c:v>1601</c:v>
                </c:pt>
                <c:pt idx="163">
                  <c:v>1630</c:v>
                </c:pt>
                <c:pt idx="164">
                  <c:v>1591</c:v>
                </c:pt>
                <c:pt idx="165">
                  <c:v>1531</c:v>
                </c:pt>
                <c:pt idx="166">
                  <c:v>1489</c:v>
                </c:pt>
                <c:pt idx="167">
                  <c:v>1511</c:v>
                </c:pt>
                <c:pt idx="168">
                  <c:v>1502</c:v>
                </c:pt>
                <c:pt idx="169">
                  <c:v>1521</c:v>
                </c:pt>
                <c:pt idx="170">
                  <c:v>1542</c:v>
                </c:pt>
                <c:pt idx="171">
                  <c:v>1520</c:v>
                </c:pt>
                <c:pt idx="172">
                  <c:v>1481</c:v>
                </c:pt>
                <c:pt idx="173">
                  <c:v>1458</c:v>
                </c:pt>
                <c:pt idx="174">
                  <c:v>1496</c:v>
                </c:pt>
                <c:pt idx="175">
                  <c:v>1512</c:v>
                </c:pt>
                <c:pt idx="176">
                  <c:v>1531</c:v>
                </c:pt>
                <c:pt idx="177">
                  <c:v>1560</c:v>
                </c:pt>
                <c:pt idx="178">
                  <c:v>1546</c:v>
                </c:pt>
                <c:pt idx="179">
                  <c:v>1497</c:v>
                </c:pt>
                <c:pt idx="180">
                  <c:v>1461</c:v>
                </c:pt>
                <c:pt idx="181">
                  <c:v>1493</c:v>
                </c:pt>
                <c:pt idx="182">
                  <c:v>1488</c:v>
                </c:pt>
                <c:pt idx="183">
                  <c:v>1530</c:v>
                </c:pt>
                <c:pt idx="184">
                  <c:v>1565</c:v>
                </c:pt>
                <c:pt idx="185">
                  <c:v>1516</c:v>
                </c:pt>
                <c:pt idx="186">
                  <c:v>1465</c:v>
                </c:pt>
                <c:pt idx="187">
                  <c:v>1437</c:v>
                </c:pt>
                <c:pt idx="188">
                  <c:v>1459</c:v>
                </c:pt>
                <c:pt idx="189">
                  <c:v>1447</c:v>
                </c:pt>
                <c:pt idx="190">
                  <c:v>1469</c:v>
                </c:pt>
                <c:pt idx="191">
                  <c:v>1487</c:v>
                </c:pt>
                <c:pt idx="192">
                  <c:v>1505</c:v>
                </c:pt>
                <c:pt idx="193">
                  <c:v>1516</c:v>
                </c:pt>
                <c:pt idx="194">
                  <c:v>1522</c:v>
                </c:pt>
                <c:pt idx="195">
                  <c:v>1563</c:v>
                </c:pt>
                <c:pt idx="196">
                  <c:v>1527</c:v>
                </c:pt>
                <c:pt idx="197">
                  <c:v>1505</c:v>
                </c:pt>
                <c:pt idx="198">
                  <c:v>1464</c:v>
                </c:pt>
                <c:pt idx="199">
                  <c:v>1447</c:v>
                </c:pt>
                <c:pt idx="200">
                  <c:v>1411</c:v>
                </c:pt>
                <c:pt idx="201">
                  <c:v>1406</c:v>
                </c:pt>
                <c:pt idx="202">
                  <c:v>1438</c:v>
                </c:pt>
                <c:pt idx="203">
                  <c:v>1391</c:v>
                </c:pt>
                <c:pt idx="204">
                  <c:v>1365</c:v>
                </c:pt>
                <c:pt idx="205">
                  <c:v>1339</c:v>
                </c:pt>
                <c:pt idx="206">
                  <c:v>1328</c:v>
                </c:pt>
                <c:pt idx="207">
                  <c:v>1303</c:v>
                </c:pt>
                <c:pt idx="208">
                  <c:v>1294</c:v>
                </c:pt>
                <c:pt idx="209">
                  <c:v>1307</c:v>
                </c:pt>
                <c:pt idx="210">
                  <c:v>1297</c:v>
                </c:pt>
                <c:pt idx="211">
                  <c:v>1265</c:v>
                </c:pt>
                <c:pt idx="212">
                  <c:v>1256</c:v>
                </c:pt>
                <c:pt idx="213">
                  <c:v>1233</c:v>
                </c:pt>
                <c:pt idx="214">
                  <c:v>1217</c:v>
                </c:pt>
                <c:pt idx="215">
                  <c:v>1215</c:v>
                </c:pt>
                <c:pt idx="216">
                  <c:v>1221</c:v>
                </c:pt>
                <c:pt idx="217">
                  <c:v>1205</c:v>
                </c:pt>
                <c:pt idx="218">
                  <c:v>1199</c:v>
                </c:pt>
                <c:pt idx="219">
                  <c:v>1197</c:v>
                </c:pt>
                <c:pt idx="220">
                  <c:v>1191</c:v>
                </c:pt>
                <c:pt idx="221">
                  <c:v>1178</c:v>
                </c:pt>
                <c:pt idx="222">
                  <c:v>1174</c:v>
                </c:pt>
                <c:pt idx="223">
                  <c:v>1180</c:v>
                </c:pt>
                <c:pt idx="224">
                  <c:v>1157</c:v>
                </c:pt>
                <c:pt idx="225">
                  <c:v>1150</c:v>
                </c:pt>
                <c:pt idx="226">
                  <c:v>1145</c:v>
                </c:pt>
                <c:pt idx="227">
                  <c:v>1142</c:v>
                </c:pt>
                <c:pt idx="228">
                  <c:v>1141</c:v>
                </c:pt>
                <c:pt idx="229">
                  <c:v>1138</c:v>
                </c:pt>
                <c:pt idx="230">
                  <c:v>1149</c:v>
                </c:pt>
                <c:pt idx="231">
                  <c:v>1146</c:v>
                </c:pt>
                <c:pt idx="232">
                  <c:v>1123</c:v>
                </c:pt>
                <c:pt idx="233">
                  <c:v>1105</c:v>
                </c:pt>
                <c:pt idx="234">
                  <c:v>1097</c:v>
                </c:pt>
                <c:pt idx="235">
                  <c:v>1090</c:v>
                </c:pt>
                <c:pt idx="236">
                  <c:v>1088</c:v>
                </c:pt>
                <c:pt idx="237">
                  <c:v>1093</c:v>
                </c:pt>
                <c:pt idx="238">
                  <c:v>1091</c:v>
                </c:pt>
                <c:pt idx="239">
                  <c:v>1086</c:v>
                </c:pt>
                <c:pt idx="240">
                  <c:v>1083</c:v>
                </c:pt>
                <c:pt idx="241">
                  <c:v>1080</c:v>
                </c:pt>
                <c:pt idx="242">
                  <c:v>1076</c:v>
                </c:pt>
                <c:pt idx="243">
                  <c:v>1075</c:v>
                </c:pt>
                <c:pt idx="244">
                  <c:v>1079</c:v>
                </c:pt>
                <c:pt idx="245">
                  <c:v>1067</c:v>
                </c:pt>
                <c:pt idx="246">
                  <c:v>1063</c:v>
                </c:pt>
                <c:pt idx="247">
                  <c:v>1064</c:v>
                </c:pt>
                <c:pt idx="248">
                  <c:v>1062</c:v>
                </c:pt>
                <c:pt idx="249">
                  <c:v>1058</c:v>
                </c:pt>
                <c:pt idx="250">
                  <c:v>1055</c:v>
                </c:pt>
                <c:pt idx="251">
                  <c:v>1058</c:v>
                </c:pt>
                <c:pt idx="252">
                  <c:v>1054</c:v>
                </c:pt>
                <c:pt idx="253">
                  <c:v>1050</c:v>
                </c:pt>
                <c:pt idx="254">
                  <c:v>1050</c:v>
                </c:pt>
                <c:pt idx="255">
                  <c:v>1050</c:v>
                </c:pt>
                <c:pt idx="256">
                  <c:v>1047</c:v>
                </c:pt>
                <c:pt idx="257">
                  <c:v>1047</c:v>
                </c:pt>
                <c:pt idx="258">
                  <c:v>1050</c:v>
                </c:pt>
                <c:pt idx="259">
                  <c:v>1052</c:v>
                </c:pt>
                <c:pt idx="260">
                  <c:v>1049</c:v>
                </c:pt>
                <c:pt idx="261">
                  <c:v>1050</c:v>
                </c:pt>
                <c:pt idx="262">
                  <c:v>1050</c:v>
                </c:pt>
                <c:pt idx="263">
                  <c:v>1047</c:v>
                </c:pt>
                <c:pt idx="264">
                  <c:v>1047</c:v>
                </c:pt>
                <c:pt idx="265">
                  <c:v>1049</c:v>
                </c:pt>
                <c:pt idx="266">
                  <c:v>1047</c:v>
                </c:pt>
                <c:pt idx="267">
                  <c:v>1044</c:v>
                </c:pt>
                <c:pt idx="268">
                  <c:v>1044</c:v>
                </c:pt>
                <c:pt idx="269">
                  <c:v>1042</c:v>
                </c:pt>
                <c:pt idx="270">
                  <c:v>1040</c:v>
                </c:pt>
                <c:pt idx="271">
                  <c:v>1040</c:v>
                </c:pt>
                <c:pt idx="272">
                  <c:v>1040</c:v>
                </c:pt>
                <c:pt idx="273">
                  <c:v>1037</c:v>
                </c:pt>
                <c:pt idx="274">
                  <c:v>1034</c:v>
                </c:pt>
                <c:pt idx="275">
                  <c:v>1034</c:v>
                </c:pt>
                <c:pt idx="276">
                  <c:v>1033</c:v>
                </c:pt>
                <c:pt idx="277">
                  <c:v>1033</c:v>
                </c:pt>
                <c:pt idx="278">
                  <c:v>1033</c:v>
                </c:pt>
                <c:pt idx="279">
                  <c:v>1032</c:v>
                </c:pt>
                <c:pt idx="280">
                  <c:v>1030</c:v>
                </c:pt>
                <c:pt idx="281">
                  <c:v>1028</c:v>
                </c:pt>
                <c:pt idx="282">
                  <c:v>1028</c:v>
                </c:pt>
                <c:pt idx="283">
                  <c:v>1028</c:v>
                </c:pt>
                <c:pt idx="284">
                  <c:v>1028</c:v>
                </c:pt>
                <c:pt idx="285">
                  <c:v>1028</c:v>
                </c:pt>
                <c:pt idx="286">
                  <c:v>1028</c:v>
                </c:pt>
                <c:pt idx="287">
                  <c:v>1028</c:v>
                </c:pt>
                <c:pt idx="288">
                  <c:v>1028</c:v>
                </c:pt>
                <c:pt idx="289">
                  <c:v>1027</c:v>
                </c:pt>
                <c:pt idx="290">
                  <c:v>1027</c:v>
                </c:pt>
                <c:pt idx="291">
                  <c:v>1027</c:v>
                </c:pt>
                <c:pt idx="292">
                  <c:v>1027</c:v>
                </c:pt>
                <c:pt idx="293">
                  <c:v>1027</c:v>
                </c:pt>
                <c:pt idx="294">
                  <c:v>1027</c:v>
                </c:pt>
                <c:pt idx="295">
                  <c:v>1027</c:v>
                </c:pt>
                <c:pt idx="296">
                  <c:v>1028</c:v>
                </c:pt>
                <c:pt idx="297">
                  <c:v>1027</c:v>
                </c:pt>
                <c:pt idx="298">
                  <c:v>1027</c:v>
                </c:pt>
                <c:pt idx="299">
                  <c:v>1027</c:v>
                </c:pt>
                <c:pt idx="300">
                  <c:v>1028</c:v>
                </c:pt>
                <c:pt idx="301">
                  <c:v>1028</c:v>
                </c:pt>
                <c:pt idx="302">
                  <c:v>1029</c:v>
                </c:pt>
                <c:pt idx="303">
                  <c:v>1029</c:v>
                </c:pt>
                <c:pt idx="304">
                  <c:v>1029</c:v>
                </c:pt>
                <c:pt idx="305">
                  <c:v>1029</c:v>
                </c:pt>
                <c:pt idx="306">
                  <c:v>1029</c:v>
                </c:pt>
                <c:pt idx="307">
                  <c:v>1029</c:v>
                </c:pt>
                <c:pt idx="308">
                  <c:v>1029</c:v>
                </c:pt>
                <c:pt idx="309">
                  <c:v>1030</c:v>
                </c:pt>
                <c:pt idx="310">
                  <c:v>1031</c:v>
                </c:pt>
                <c:pt idx="311">
                  <c:v>1031</c:v>
                </c:pt>
                <c:pt idx="312">
                  <c:v>1031</c:v>
                </c:pt>
                <c:pt idx="313">
                  <c:v>1032</c:v>
                </c:pt>
                <c:pt idx="314">
                  <c:v>1032</c:v>
                </c:pt>
                <c:pt idx="315">
                  <c:v>1032</c:v>
                </c:pt>
                <c:pt idx="316">
                  <c:v>1032</c:v>
                </c:pt>
                <c:pt idx="317">
                  <c:v>1032</c:v>
                </c:pt>
                <c:pt idx="318">
                  <c:v>1031</c:v>
                </c:pt>
                <c:pt idx="319">
                  <c:v>1031</c:v>
                </c:pt>
                <c:pt idx="320">
                  <c:v>1031</c:v>
                </c:pt>
                <c:pt idx="321">
                  <c:v>1031</c:v>
                </c:pt>
                <c:pt idx="322">
                  <c:v>1031</c:v>
                </c:pt>
                <c:pt idx="323">
                  <c:v>1032</c:v>
                </c:pt>
                <c:pt idx="324">
                  <c:v>1031</c:v>
                </c:pt>
                <c:pt idx="325">
                  <c:v>1031</c:v>
                </c:pt>
                <c:pt idx="326">
                  <c:v>1030</c:v>
                </c:pt>
                <c:pt idx="327">
                  <c:v>1030</c:v>
                </c:pt>
                <c:pt idx="328">
                  <c:v>1029</c:v>
                </c:pt>
                <c:pt idx="329">
                  <c:v>1030</c:v>
                </c:pt>
                <c:pt idx="330">
                  <c:v>1031</c:v>
                </c:pt>
                <c:pt idx="331">
                  <c:v>1031</c:v>
                </c:pt>
                <c:pt idx="332">
                  <c:v>1031</c:v>
                </c:pt>
                <c:pt idx="333">
                  <c:v>1031</c:v>
                </c:pt>
                <c:pt idx="334">
                  <c:v>1031</c:v>
                </c:pt>
                <c:pt idx="335">
                  <c:v>1031</c:v>
                </c:pt>
                <c:pt idx="336">
                  <c:v>1031</c:v>
                </c:pt>
                <c:pt idx="337">
                  <c:v>1031</c:v>
                </c:pt>
                <c:pt idx="338">
                  <c:v>1030</c:v>
                </c:pt>
                <c:pt idx="339">
                  <c:v>1030</c:v>
                </c:pt>
                <c:pt idx="340">
                  <c:v>1030</c:v>
                </c:pt>
                <c:pt idx="341">
                  <c:v>1031</c:v>
                </c:pt>
                <c:pt idx="342">
                  <c:v>1031</c:v>
                </c:pt>
                <c:pt idx="343">
                  <c:v>1030</c:v>
                </c:pt>
                <c:pt idx="344">
                  <c:v>1030</c:v>
                </c:pt>
                <c:pt idx="345">
                  <c:v>1030</c:v>
                </c:pt>
                <c:pt idx="346">
                  <c:v>1030</c:v>
                </c:pt>
                <c:pt idx="347">
                  <c:v>1030</c:v>
                </c:pt>
                <c:pt idx="348">
                  <c:v>1030</c:v>
                </c:pt>
                <c:pt idx="349">
                  <c:v>1030</c:v>
                </c:pt>
                <c:pt idx="350">
                  <c:v>1029</c:v>
                </c:pt>
                <c:pt idx="351">
                  <c:v>1029</c:v>
                </c:pt>
                <c:pt idx="352">
                  <c:v>1029</c:v>
                </c:pt>
                <c:pt idx="353">
                  <c:v>1029</c:v>
                </c:pt>
                <c:pt idx="354">
                  <c:v>1029</c:v>
                </c:pt>
                <c:pt idx="355">
                  <c:v>1029</c:v>
                </c:pt>
                <c:pt idx="356">
                  <c:v>1030</c:v>
                </c:pt>
                <c:pt idx="357">
                  <c:v>1030</c:v>
                </c:pt>
                <c:pt idx="358">
                  <c:v>1030</c:v>
                </c:pt>
                <c:pt idx="359">
                  <c:v>1030</c:v>
                </c:pt>
                <c:pt idx="360">
                  <c:v>1031</c:v>
                </c:pt>
                <c:pt idx="361">
                  <c:v>1031</c:v>
                </c:pt>
                <c:pt idx="362">
                  <c:v>1032</c:v>
                </c:pt>
                <c:pt idx="363">
                  <c:v>1031</c:v>
                </c:pt>
                <c:pt idx="364">
                  <c:v>1031</c:v>
                </c:pt>
                <c:pt idx="365">
                  <c:v>1036</c:v>
                </c:pt>
                <c:pt idx="366">
                  <c:v>1037</c:v>
                </c:pt>
                <c:pt idx="367">
                  <c:v>1038</c:v>
                </c:pt>
                <c:pt idx="368">
                  <c:v>1038</c:v>
                </c:pt>
                <c:pt idx="369">
                  <c:v>1038</c:v>
                </c:pt>
                <c:pt idx="370">
                  <c:v>1039</c:v>
                </c:pt>
                <c:pt idx="371">
                  <c:v>1040</c:v>
                </c:pt>
                <c:pt idx="372">
                  <c:v>1041</c:v>
                </c:pt>
                <c:pt idx="373">
                  <c:v>1042</c:v>
                </c:pt>
                <c:pt idx="374">
                  <c:v>1043</c:v>
                </c:pt>
                <c:pt idx="375">
                  <c:v>1042</c:v>
                </c:pt>
                <c:pt idx="376">
                  <c:v>1041</c:v>
                </c:pt>
                <c:pt idx="377">
                  <c:v>1041</c:v>
                </c:pt>
                <c:pt idx="378">
                  <c:v>1042</c:v>
                </c:pt>
                <c:pt idx="379">
                  <c:v>1041</c:v>
                </c:pt>
                <c:pt idx="380">
                  <c:v>1041</c:v>
                </c:pt>
                <c:pt idx="381">
                  <c:v>1040</c:v>
                </c:pt>
                <c:pt idx="382">
                  <c:v>1038</c:v>
                </c:pt>
                <c:pt idx="383">
                  <c:v>1038</c:v>
                </c:pt>
                <c:pt idx="384">
                  <c:v>1042</c:v>
                </c:pt>
                <c:pt idx="385">
                  <c:v>1045</c:v>
                </c:pt>
                <c:pt idx="386">
                  <c:v>1045</c:v>
                </c:pt>
                <c:pt idx="387">
                  <c:v>1045</c:v>
                </c:pt>
                <c:pt idx="388">
                  <c:v>1045</c:v>
                </c:pt>
                <c:pt idx="389">
                  <c:v>1046</c:v>
                </c:pt>
                <c:pt idx="390">
                  <c:v>1047</c:v>
                </c:pt>
                <c:pt idx="391">
                  <c:v>1051</c:v>
                </c:pt>
                <c:pt idx="392">
                  <c:v>1053</c:v>
                </c:pt>
                <c:pt idx="393">
                  <c:v>1058</c:v>
                </c:pt>
                <c:pt idx="394">
                  <c:v>1059</c:v>
                </c:pt>
                <c:pt idx="395">
                  <c:v>1061</c:v>
                </c:pt>
                <c:pt idx="396">
                  <c:v>1060</c:v>
                </c:pt>
                <c:pt idx="397">
                  <c:v>1059</c:v>
                </c:pt>
                <c:pt idx="398">
                  <c:v>1062</c:v>
                </c:pt>
                <c:pt idx="399">
                  <c:v>1064</c:v>
                </c:pt>
                <c:pt idx="400">
                  <c:v>1064</c:v>
                </c:pt>
                <c:pt idx="401">
                  <c:v>1065</c:v>
                </c:pt>
                <c:pt idx="402">
                  <c:v>1066</c:v>
                </c:pt>
                <c:pt idx="403">
                  <c:v>1067</c:v>
                </c:pt>
                <c:pt idx="404">
                  <c:v>1065</c:v>
                </c:pt>
                <c:pt idx="405">
                  <c:v>1067</c:v>
                </c:pt>
                <c:pt idx="406">
                  <c:v>1063</c:v>
                </c:pt>
                <c:pt idx="407">
                  <c:v>1063</c:v>
                </c:pt>
                <c:pt idx="408">
                  <c:v>1059</c:v>
                </c:pt>
                <c:pt idx="409">
                  <c:v>1065</c:v>
                </c:pt>
                <c:pt idx="410">
                  <c:v>1064</c:v>
                </c:pt>
                <c:pt idx="411">
                  <c:v>1065</c:v>
                </c:pt>
                <c:pt idx="412">
                  <c:v>1077</c:v>
                </c:pt>
                <c:pt idx="413">
                  <c:v>1081</c:v>
                </c:pt>
                <c:pt idx="414">
                  <c:v>1091</c:v>
                </c:pt>
                <c:pt idx="415">
                  <c:v>1093</c:v>
                </c:pt>
                <c:pt idx="416">
                  <c:v>1101</c:v>
                </c:pt>
                <c:pt idx="417">
                  <c:v>1096</c:v>
                </c:pt>
                <c:pt idx="418">
                  <c:v>1100</c:v>
                </c:pt>
                <c:pt idx="419">
                  <c:v>1119</c:v>
                </c:pt>
                <c:pt idx="420">
                  <c:v>1122</c:v>
                </c:pt>
                <c:pt idx="421">
                  <c:v>1137</c:v>
                </c:pt>
                <c:pt idx="422">
                  <c:v>1138</c:v>
                </c:pt>
                <c:pt idx="423">
                  <c:v>1143</c:v>
                </c:pt>
                <c:pt idx="424">
                  <c:v>1143</c:v>
                </c:pt>
                <c:pt idx="425">
                  <c:v>1144</c:v>
                </c:pt>
                <c:pt idx="426">
                  <c:v>1185</c:v>
                </c:pt>
                <c:pt idx="427">
                  <c:v>1196</c:v>
                </c:pt>
                <c:pt idx="428">
                  <c:v>1210</c:v>
                </c:pt>
                <c:pt idx="429">
                  <c:v>1224</c:v>
                </c:pt>
                <c:pt idx="430">
                  <c:v>1242</c:v>
                </c:pt>
                <c:pt idx="431">
                  <c:v>1249</c:v>
                </c:pt>
                <c:pt idx="432">
                  <c:v>1251</c:v>
                </c:pt>
                <c:pt idx="433">
                  <c:v>1301</c:v>
                </c:pt>
                <c:pt idx="434">
                  <c:v>1317</c:v>
                </c:pt>
                <c:pt idx="435">
                  <c:v>1328</c:v>
                </c:pt>
                <c:pt idx="436">
                  <c:v>1356</c:v>
                </c:pt>
                <c:pt idx="437">
                  <c:v>1385</c:v>
                </c:pt>
                <c:pt idx="438">
                  <c:v>1393</c:v>
                </c:pt>
                <c:pt idx="439">
                  <c:v>1399</c:v>
                </c:pt>
                <c:pt idx="440">
                  <c:v>1450</c:v>
                </c:pt>
                <c:pt idx="441">
                  <c:v>1447</c:v>
                </c:pt>
                <c:pt idx="442">
                  <c:v>1430</c:v>
                </c:pt>
                <c:pt idx="443">
                  <c:v>1448</c:v>
                </c:pt>
                <c:pt idx="444">
                  <c:v>1472</c:v>
                </c:pt>
                <c:pt idx="445">
                  <c:v>1460</c:v>
                </c:pt>
                <c:pt idx="446">
                  <c:v>1456</c:v>
                </c:pt>
                <c:pt idx="447">
                  <c:v>1521</c:v>
                </c:pt>
                <c:pt idx="448">
                  <c:v>1523</c:v>
                </c:pt>
                <c:pt idx="449">
                  <c:v>1535</c:v>
                </c:pt>
                <c:pt idx="450">
                  <c:v>1536</c:v>
                </c:pt>
                <c:pt idx="451">
                  <c:v>1545</c:v>
                </c:pt>
                <c:pt idx="452">
                  <c:v>1533</c:v>
                </c:pt>
                <c:pt idx="453">
                  <c:v>1521</c:v>
                </c:pt>
                <c:pt idx="454">
                  <c:v>1556</c:v>
                </c:pt>
                <c:pt idx="455">
                  <c:v>1537</c:v>
                </c:pt>
                <c:pt idx="456">
                  <c:v>1530</c:v>
                </c:pt>
                <c:pt idx="457">
                  <c:v>1546</c:v>
                </c:pt>
                <c:pt idx="458">
                  <c:v>1509</c:v>
                </c:pt>
                <c:pt idx="459">
                  <c:v>1473</c:v>
                </c:pt>
                <c:pt idx="460">
                  <c:v>1464</c:v>
                </c:pt>
                <c:pt idx="461">
                  <c:v>1500</c:v>
                </c:pt>
                <c:pt idx="462">
                  <c:v>1463</c:v>
                </c:pt>
                <c:pt idx="463">
                  <c:v>1441</c:v>
                </c:pt>
                <c:pt idx="464">
                  <c:v>1402</c:v>
                </c:pt>
                <c:pt idx="465">
                  <c:v>1384</c:v>
                </c:pt>
                <c:pt idx="466">
                  <c:v>1348</c:v>
                </c:pt>
                <c:pt idx="467">
                  <c:v>1343</c:v>
                </c:pt>
                <c:pt idx="468">
                  <c:v>1366</c:v>
                </c:pt>
                <c:pt idx="469">
                  <c:v>1336</c:v>
                </c:pt>
                <c:pt idx="470">
                  <c:v>1305</c:v>
                </c:pt>
                <c:pt idx="471">
                  <c:v>1282</c:v>
                </c:pt>
                <c:pt idx="472">
                  <c:v>1259</c:v>
                </c:pt>
                <c:pt idx="473">
                  <c:v>1214</c:v>
                </c:pt>
                <c:pt idx="474">
                  <c:v>1208</c:v>
                </c:pt>
                <c:pt idx="475">
                  <c:v>1223</c:v>
                </c:pt>
                <c:pt idx="476">
                  <c:v>1176</c:v>
                </c:pt>
                <c:pt idx="477">
                  <c:v>1143</c:v>
                </c:pt>
                <c:pt idx="478">
                  <c:v>1109</c:v>
                </c:pt>
                <c:pt idx="479">
                  <c:v>1095</c:v>
                </c:pt>
                <c:pt idx="480">
                  <c:v>1071</c:v>
                </c:pt>
                <c:pt idx="481">
                  <c:v>1062</c:v>
                </c:pt>
                <c:pt idx="482">
                  <c:v>1061</c:v>
                </c:pt>
                <c:pt idx="483">
                  <c:v>1043</c:v>
                </c:pt>
                <c:pt idx="484">
                  <c:v>1012</c:v>
                </c:pt>
                <c:pt idx="485">
                  <c:v>1000</c:v>
                </c:pt>
                <c:pt idx="486">
                  <c:v>988</c:v>
                </c:pt>
                <c:pt idx="487">
                  <c:v>968</c:v>
                </c:pt>
                <c:pt idx="488">
                  <c:v>961</c:v>
                </c:pt>
                <c:pt idx="489">
                  <c:v>971</c:v>
                </c:pt>
                <c:pt idx="490">
                  <c:v>957</c:v>
                </c:pt>
                <c:pt idx="491">
                  <c:v>949</c:v>
                </c:pt>
                <c:pt idx="492">
                  <c:v>950</c:v>
                </c:pt>
                <c:pt idx="493">
                  <c:v>953</c:v>
                </c:pt>
                <c:pt idx="494">
                  <c:v>950</c:v>
                </c:pt>
                <c:pt idx="495">
                  <c:v>948</c:v>
                </c:pt>
                <c:pt idx="496">
                  <c:v>965</c:v>
                </c:pt>
                <c:pt idx="497">
                  <c:v>953</c:v>
                </c:pt>
                <c:pt idx="498">
                  <c:v>945</c:v>
                </c:pt>
                <c:pt idx="499">
                  <c:v>940</c:v>
                </c:pt>
                <c:pt idx="500">
                  <c:v>939</c:v>
                </c:pt>
                <c:pt idx="501">
                  <c:v>942</c:v>
                </c:pt>
                <c:pt idx="502">
                  <c:v>952</c:v>
                </c:pt>
                <c:pt idx="503">
                  <c:v>994</c:v>
                </c:pt>
                <c:pt idx="504">
                  <c:v>1009</c:v>
                </c:pt>
                <c:pt idx="505">
                  <c:v>1041</c:v>
                </c:pt>
                <c:pt idx="506">
                  <c:v>1083</c:v>
                </c:pt>
                <c:pt idx="507">
                  <c:v>1140</c:v>
                </c:pt>
                <c:pt idx="508">
                  <c:v>1133</c:v>
                </c:pt>
                <c:pt idx="509">
                  <c:v>1134</c:v>
                </c:pt>
                <c:pt idx="510">
                  <c:v>1200</c:v>
                </c:pt>
                <c:pt idx="511">
                  <c:v>1264</c:v>
                </c:pt>
                <c:pt idx="512">
                  <c:v>1347</c:v>
                </c:pt>
                <c:pt idx="513">
                  <c:v>1398</c:v>
                </c:pt>
                <c:pt idx="514">
                  <c:v>1416</c:v>
                </c:pt>
                <c:pt idx="515">
                  <c:v>1402</c:v>
                </c:pt>
                <c:pt idx="516">
                  <c:v>1382</c:v>
                </c:pt>
                <c:pt idx="517">
                  <c:v>1441</c:v>
                </c:pt>
                <c:pt idx="518">
                  <c:v>1488</c:v>
                </c:pt>
                <c:pt idx="519">
                  <c:v>1553</c:v>
                </c:pt>
                <c:pt idx="520">
                  <c:v>1593</c:v>
                </c:pt>
                <c:pt idx="521">
                  <c:v>1566</c:v>
                </c:pt>
                <c:pt idx="522">
                  <c:v>1464</c:v>
                </c:pt>
                <c:pt idx="523">
                  <c:v>1372</c:v>
                </c:pt>
                <c:pt idx="524">
                  <c:v>1399</c:v>
                </c:pt>
                <c:pt idx="525">
                  <c:v>1390</c:v>
                </c:pt>
                <c:pt idx="526">
                  <c:v>1416</c:v>
                </c:pt>
                <c:pt idx="527">
                  <c:v>1436</c:v>
                </c:pt>
                <c:pt idx="528">
                  <c:v>1328</c:v>
                </c:pt>
                <c:pt idx="529">
                  <c:v>1215</c:v>
                </c:pt>
                <c:pt idx="530">
                  <c:v>1136</c:v>
                </c:pt>
                <c:pt idx="531">
                  <c:v>1135</c:v>
                </c:pt>
                <c:pt idx="532">
                  <c:v>1112</c:v>
                </c:pt>
                <c:pt idx="533">
                  <c:v>1142</c:v>
                </c:pt>
                <c:pt idx="534">
                  <c:v>1139</c:v>
                </c:pt>
                <c:pt idx="535">
                  <c:v>986</c:v>
                </c:pt>
                <c:pt idx="536">
                  <c:v>893</c:v>
                </c:pt>
                <c:pt idx="537">
                  <c:v>803</c:v>
                </c:pt>
                <c:pt idx="538">
                  <c:v>790</c:v>
                </c:pt>
                <c:pt idx="539">
                  <c:v>744</c:v>
                </c:pt>
                <c:pt idx="540">
                  <c:v>748</c:v>
                </c:pt>
                <c:pt idx="541">
                  <c:v>753</c:v>
                </c:pt>
                <c:pt idx="542">
                  <c:v>638</c:v>
                </c:pt>
                <c:pt idx="543">
                  <c:v>555</c:v>
                </c:pt>
                <c:pt idx="544">
                  <c:v>492</c:v>
                </c:pt>
                <c:pt idx="545">
                  <c:v>479</c:v>
                </c:pt>
                <c:pt idx="546">
                  <c:v>449</c:v>
                </c:pt>
                <c:pt idx="547">
                  <c:v>452</c:v>
                </c:pt>
                <c:pt idx="548">
                  <c:v>452</c:v>
                </c:pt>
                <c:pt idx="549">
                  <c:v>379</c:v>
                </c:pt>
                <c:pt idx="550">
                  <c:v>343</c:v>
                </c:pt>
                <c:pt idx="551">
                  <c:v>303</c:v>
                </c:pt>
                <c:pt idx="552">
                  <c:v>303</c:v>
                </c:pt>
                <c:pt idx="553">
                  <c:v>297</c:v>
                </c:pt>
                <c:pt idx="554">
                  <c:v>316</c:v>
                </c:pt>
                <c:pt idx="555">
                  <c:v>296</c:v>
                </c:pt>
                <c:pt idx="556">
                  <c:v>2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DC7-418F-9894-CC9725FB542B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2:$A$558</c:f>
              <c:numCache>
                <c:formatCode>m/d/yyyy</c:formatCode>
                <c:ptCount val="55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</c:numCache>
            </c:numRef>
          </c:cat>
          <c:val>
            <c:numRef>
              <c:f>List1!$D$2:$D$558</c:f>
              <c:numCache>
                <c:formatCode>General</c:formatCode>
                <c:ptCount val="557"/>
                <c:pt idx="0">
                  <c:v>9</c:v>
                </c:pt>
                <c:pt idx="1">
                  <c:v>7</c:v>
                </c:pt>
                <c:pt idx="2">
                  <c:v>7</c:v>
                </c:pt>
                <c:pt idx="3">
                  <c:v>11</c:v>
                </c:pt>
                <c:pt idx="4">
                  <c:v>8</c:v>
                </c:pt>
                <c:pt idx="5">
                  <c:v>8</c:v>
                </c:pt>
                <c:pt idx="6">
                  <c:v>8</c:v>
                </c:pt>
                <c:pt idx="7">
                  <c:v>9</c:v>
                </c:pt>
                <c:pt idx="8">
                  <c:v>11</c:v>
                </c:pt>
                <c:pt idx="9">
                  <c:v>10</c:v>
                </c:pt>
                <c:pt idx="10">
                  <c:v>10</c:v>
                </c:pt>
                <c:pt idx="11">
                  <c:v>14</c:v>
                </c:pt>
                <c:pt idx="12">
                  <c:v>4</c:v>
                </c:pt>
                <c:pt idx="13">
                  <c:v>8</c:v>
                </c:pt>
                <c:pt idx="14">
                  <c:v>7</c:v>
                </c:pt>
                <c:pt idx="15">
                  <c:v>8</c:v>
                </c:pt>
                <c:pt idx="16">
                  <c:v>9</c:v>
                </c:pt>
                <c:pt idx="17">
                  <c:v>11</c:v>
                </c:pt>
                <c:pt idx="18">
                  <c:v>11</c:v>
                </c:pt>
                <c:pt idx="19">
                  <c:v>16</c:v>
                </c:pt>
                <c:pt idx="20">
                  <c:v>14</c:v>
                </c:pt>
                <c:pt idx="21">
                  <c:v>18</c:v>
                </c:pt>
                <c:pt idx="22">
                  <c:v>15</c:v>
                </c:pt>
                <c:pt idx="23">
                  <c:v>22</c:v>
                </c:pt>
                <c:pt idx="24">
                  <c:v>31</c:v>
                </c:pt>
                <c:pt idx="25">
                  <c:v>40</c:v>
                </c:pt>
                <c:pt idx="26">
                  <c:v>41</c:v>
                </c:pt>
                <c:pt idx="27">
                  <c:v>46</c:v>
                </c:pt>
                <c:pt idx="28">
                  <c:v>70</c:v>
                </c:pt>
                <c:pt idx="29">
                  <c:v>99</c:v>
                </c:pt>
                <c:pt idx="30">
                  <c:v>156</c:v>
                </c:pt>
                <c:pt idx="31">
                  <c:v>303</c:v>
                </c:pt>
                <c:pt idx="32">
                  <c:v>362</c:v>
                </c:pt>
                <c:pt idx="33">
                  <c:v>428</c:v>
                </c:pt>
                <c:pt idx="34">
                  <c:v>676</c:v>
                </c:pt>
                <c:pt idx="35">
                  <c:v>786</c:v>
                </c:pt>
                <c:pt idx="36">
                  <c:v>849</c:v>
                </c:pt>
                <c:pt idx="37">
                  <c:v>1002</c:v>
                </c:pt>
                <c:pt idx="38">
                  <c:v>1220</c:v>
                </c:pt>
                <c:pt idx="39">
                  <c:v>1277</c:v>
                </c:pt>
                <c:pt idx="40">
                  <c:v>1261</c:v>
                </c:pt>
                <c:pt idx="41">
                  <c:v>1516</c:v>
                </c:pt>
                <c:pt idx="42">
                  <c:v>1815</c:v>
                </c:pt>
                <c:pt idx="43">
                  <c:v>2119</c:v>
                </c:pt>
                <c:pt idx="44">
                  <c:v>2479</c:v>
                </c:pt>
                <c:pt idx="45">
                  <c:v>2775</c:v>
                </c:pt>
                <c:pt idx="46">
                  <c:v>2923</c:v>
                </c:pt>
                <c:pt idx="47">
                  <c:v>2869</c:v>
                </c:pt>
                <c:pt idx="48">
                  <c:v>3192</c:v>
                </c:pt>
                <c:pt idx="49">
                  <c:v>3453</c:v>
                </c:pt>
                <c:pt idx="50">
                  <c:v>3964</c:v>
                </c:pt>
                <c:pt idx="51">
                  <c:v>4295</c:v>
                </c:pt>
                <c:pt idx="52">
                  <c:v>4861</c:v>
                </c:pt>
                <c:pt idx="53">
                  <c:v>5013</c:v>
                </c:pt>
                <c:pt idx="54">
                  <c:v>5026</c:v>
                </c:pt>
                <c:pt idx="55">
                  <c:v>5380</c:v>
                </c:pt>
                <c:pt idx="56">
                  <c:v>5917</c:v>
                </c:pt>
                <c:pt idx="57">
                  <c:v>5963</c:v>
                </c:pt>
                <c:pt idx="58">
                  <c:v>6823</c:v>
                </c:pt>
                <c:pt idx="59">
                  <c:v>7267</c:v>
                </c:pt>
                <c:pt idx="60">
                  <c:v>7269</c:v>
                </c:pt>
                <c:pt idx="61">
                  <c:v>7006</c:v>
                </c:pt>
                <c:pt idx="62">
                  <c:v>7102</c:v>
                </c:pt>
                <c:pt idx="63">
                  <c:v>6975</c:v>
                </c:pt>
                <c:pt idx="64">
                  <c:v>7388</c:v>
                </c:pt>
                <c:pt idx="65">
                  <c:v>7907</c:v>
                </c:pt>
                <c:pt idx="66">
                  <c:v>7594</c:v>
                </c:pt>
                <c:pt idx="67">
                  <c:v>6994</c:v>
                </c:pt>
                <c:pt idx="68">
                  <c:v>6815</c:v>
                </c:pt>
                <c:pt idx="69">
                  <c:v>6427</c:v>
                </c:pt>
                <c:pt idx="70">
                  <c:v>6166</c:v>
                </c:pt>
                <c:pt idx="71">
                  <c:v>6722</c:v>
                </c:pt>
                <c:pt idx="72">
                  <c:v>7244</c:v>
                </c:pt>
                <c:pt idx="73">
                  <c:v>7196</c:v>
                </c:pt>
                <c:pt idx="74">
                  <c:v>6660</c:v>
                </c:pt>
                <c:pt idx="75">
                  <c:v>6304</c:v>
                </c:pt>
                <c:pt idx="76">
                  <c:v>6296</c:v>
                </c:pt>
                <c:pt idx="77">
                  <c:v>5924</c:v>
                </c:pt>
                <c:pt idx="78">
                  <c:v>6221</c:v>
                </c:pt>
                <c:pt idx="79">
                  <c:v>6457</c:v>
                </c:pt>
                <c:pt idx="80">
                  <c:v>6466</c:v>
                </c:pt>
                <c:pt idx="81">
                  <c:v>5828</c:v>
                </c:pt>
                <c:pt idx="82">
                  <c:v>5372</c:v>
                </c:pt>
                <c:pt idx="83">
                  <c:v>5489</c:v>
                </c:pt>
                <c:pt idx="84">
                  <c:v>5144</c:v>
                </c:pt>
                <c:pt idx="85">
                  <c:v>5169</c:v>
                </c:pt>
                <c:pt idx="86">
                  <c:v>5290</c:v>
                </c:pt>
                <c:pt idx="87">
                  <c:v>5009</c:v>
                </c:pt>
                <c:pt idx="88">
                  <c:v>4936</c:v>
                </c:pt>
                <c:pt idx="89">
                  <c:v>4535</c:v>
                </c:pt>
                <c:pt idx="90">
                  <c:v>4420</c:v>
                </c:pt>
                <c:pt idx="91">
                  <c:v>4230</c:v>
                </c:pt>
                <c:pt idx="92">
                  <c:v>4319</c:v>
                </c:pt>
                <c:pt idx="93">
                  <c:v>4420</c:v>
                </c:pt>
                <c:pt idx="94">
                  <c:v>4248</c:v>
                </c:pt>
                <c:pt idx="95">
                  <c:v>4014</c:v>
                </c:pt>
                <c:pt idx="96">
                  <c:v>3792</c:v>
                </c:pt>
                <c:pt idx="97">
                  <c:v>3805</c:v>
                </c:pt>
                <c:pt idx="98">
                  <c:v>3651</c:v>
                </c:pt>
                <c:pt idx="99">
                  <c:v>3747</c:v>
                </c:pt>
                <c:pt idx="100">
                  <c:v>3848</c:v>
                </c:pt>
                <c:pt idx="101">
                  <c:v>3823</c:v>
                </c:pt>
                <c:pt idx="102">
                  <c:v>3654</c:v>
                </c:pt>
                <c:pt idx="103">
                  <c:v>3568</c:v>
                </c:pt>
                <c:pt idx="104">
                  <c:v>3625</c:v>
                </c:pt>
                <c:pt idx="105">
                  <c:v>3612</c:v>
                </c:pt>
                <c:pt idx="106">
                  <c:v>3684</c:v>
                </c:pt>
                <c:pt idx="107">
                  <c:v>3727</c:v>
                </c:pt>
                <c:pt idx="108">
                  <c:v>3732</c:v>
                </c:pt>
                <c:pt idx="109">
                  <c:v>3553</c:v>
                </c:pt>
                <c:pt idx="110">
                  <c:v>3440</c:v>
                </c:pt>
                <c:pt idx="111">
                  <c:v>3598</c:v>
                </c:pt>
                <c:pt idx="112">
                  <c:v>3664</c:v>
                </c:pt>
                <c:pt idx="113">
                  <c:v>3787</c:v>
                </c:pt>
                <c:pt idx="114">
                  <c:v>3772</c:v>
                </c:pt>
                <c:pt idx="115">
                  <c:v>3621</c:v>
                </c:pt>
                <c:pt idx="116">
                  <c:v>3556</c:v>
                </c:pt>
                <c:pt idx="117">
                  <c:v>3524</c:v>
                </c:pt>
                <c:pt idx="118">
                  <c:v>3688</c:v>
                </c:pt>
                <c:pt idx="119">
                  <c:v>3828</c:v>
                </c:pt>
                <c:pt idx="120">
                  <c:v>4009</c:v>
                </c:pt>
                <c:pt idx="121">
                  <c:v>4167</c:v>
                </c:pt>
                <c:pt idx="122">
                  <c:v>3942</c:v>
                </c:pt>
                <c:pt idx="123">
                  <c:v>3844</c:v>
                </c:pt>
                <c:pt idx="124">
                  <c:v>3612</c:v>
                </c:pt>
                <c:pt idx="125">
                  <c:v>4135</c:v>
                </c:pt>
                <c:pt idx="126">
                  <c:v>4355</c:v>
                </c:pt>
                <c:pt idx="127">
                  <c:v>4530</c:v>
                </c:pt>
                <c:pt idx="128">
                  <c:v>4744</c:v>
                </c:pt>
                <c:pt idx="129">
                  <c:v>4659</c:v>
                </c:pt>
                <c:pt idx="130">
                  <c:v>4420</c:v>
                </c:pt>
                <c:pt idx="131">
                  <c:v>4152</c:v>
                </c:pt>
                <c:pt idx="132">
                  <c:v>4459</c:v>
                </c:pt>
                <c:pt idx="133">
                  <c:v>4608</c:v>
                </c:pt>
                <c:pt idx="134">
                  <c:v>4786</c:v>
                </c:pt>
                <c:pt idx="135">
                  <c:v>4840</c:v>
                </c:pt>
                <c:pt idx="136">
                  <c:v>4622</c:v>
                </c:pt>
                <c:pt idx="137">
                  <c:v>4282</c:v>
                </c:pt>
                <c:pt idx="138">
                  <c:v>4019</c:v>
                </c:pt>
                <c:pt idx="139">
                  <c:v>3969</c:v>
                </c:pt>
                <c:pt idx="140">
                  <c:v>3805</c:v>
                </c:pt>
                <c:pt idx="141">
                  <c:v>3920</c:v>
                </c:pt>
                <c:pt idx="142">
                  <c:v>4030</c:v>
                </c:pt>
                <c:pt idx="143">
                  <c:v>3811</c:v>
                </c:pt>
                <c:pt idx="144">
                  <c:v>3665</c:v>
                </c:pt>
                <c:pt idx="145">
                  <c:v>3457</c:v>
                </c:pt>
                <c:pt idx="146">
                  <c:v>3433</c:v>
                </c:pt>
                <c:pt idx="147">
                  <c:v>3384</c:v>
                </c:pt>
                <c:pt idx="148">
                  <c:v>3461</c:v>
                </c:pt>
                <c:pt idx="149">
                  <c:v>3513</c:v>
                </c:pt>
                <c:pt idx="150">
                  <c:v>3291</c:v>
                </c:pt>
                <c:pt idx="151">
                  <c:v>3180</c:v>
                </c:pt>
                <c:pt idx="152">
                  <c:v>2972</c:v>
                </c:pt>
                <c:pt idx="153">
                  <c:v>3024</c:v>
                </c:pt>
                <c:pt idx="154">
                  <c:v>3047</c:v>
                </c:pt>
                <c:pt idx="155">
                  <c:v>3141</c:v>
                </c:pt>
                <c:pt idx="156">
                  <c:v>3197</c:v>
                </c:pt>
                <c:pt idx="157">
                  <c:v>3115</c:v>
                </c:pt>
                <c:pt idx="158">
                  <c:v>2986</c:v>
                </c:pt>
                <c:pt idx="159">
                  <c:v>2887</c:v>
                </c:pt>
                <c:pt idx="160">
                  <c:v>2931</c:v>
                </c:pt>
                <c:pt idx="161">
                  <c:v>2892</c:v>
                </c:pt>
                <c:pt idx="162">
                  <c:v>2950</c:v>
                </c:pt>
                <c:pt idx="163">
                  <c:v>3030</c:v>
                </c:pt>
                <c:pt idx="164">
                  <c:v>2952</c:v>
                </c:pt>
                <c:pt idx="165">
                  <c:v>2772</c:v>
                </c:pt>
                <c:pt idx="166">
                  <c:v>2639</c:v>
                </c:pt>
                <c:pt idx="167">
                  <c:v>2639</c:v>
                </c:pt>
                <c:pt idx="168">
                  <c:v>2547</c:v>
                </c:pt>
                <c:pt idx="169">
                  <c:v>2544</c:v>
                </c:pt>
                <c:pt idx="170">
                  <c:v>2582</c:v>
                </c:pt>
                <c:pt idx="171">
                  <c:v>2500</c:v>
                </c:pt>
                <c:pt idx="172">
                  <c:v>2399</c:v>
                </c:pt>
                <c:pt idx="173">
                  <c:v>2306</c:v>
                </c:pt>
                <c:pt idx="174">
                  <c:v>2388</c:v>
                </c:pt>
                <c:pt idx="175">
                  <c:v>2378</c:v>
                </c:pt>
                <c:pt idx="176">
                  <c:v>2406</c:v>
                </c:pt>
                <c:pt idx="177">
                  <c:v>2465</c:v>
                </c:pt>
                <c:pt idx="178">
                  <c:v>2442</c:v>
                </c:pt>
                <c:pt idx="179">
                  <c:v>2360</c:v>
                </c:pt>
                <c:pt idx="180">
                  <c:v>2303</c:v>
                </c:pt>
                <c:pt idx="181">
                  <c:v>2384</c:v>
                </c:pt>
                <c:pt idx="182">
                  <c:v>2346</c:v>
                </c:pt>
                <c:pt idx="183">
                  <c:v>2394</c:v>
                </c:pt>
                <c:pt idx="184">
                  <c:v>2425</c:v>
                </c:pt>
                <c:pt idx="185">
                  <c:v>2309</c:v>
                </c:pt>
                <c:pt idx="186">
                  <c:v>2229</c:v>
                </c:pt>
                <c:pt idx="187">
                  <c:v>2158</c:v>
                </c:pt>
                <c:pt idx="188">
                  <c:v>2175</c:v>
                </c:pt>
                <c:pt idx="189">
                  <c:v>2219</c:v>
                </c:pt>
                <c:pt idx="190">
                  <c:v>2290</c:v>
                </c:pt>
                <c:pt idx="191">
                  <c:v>2310</c:v>
                </c:pt>
                <c:pt idx="192">
                  <c:v>2355</c:v>
                </c:pt>
                <c:pt idx="193">
                  <c:v>2363</c:v>
                </c:pt>
                <c:pt idx="194">
                  <c:v>2370</c:v>
                </c:pt>
                <c:pt idx="195">
                  <c:v>2438</c:v>
                </c:pt>
                <c:pt idx="196">
                  <c:v>2338</c:v>
                </c:pt>
                <c:pt idx="197">
                  <c:v>2299</c:v>
                </c:pt>
                <c:pt idx="198">
                  <c:v>2243</c:v>
                </c:pt>
                <c:pt idx="199">
                  <c:v>2226</c:v>
                </c:pt>
                <c:pt idx="200">
                  <c:v>2171</c:v>
                </c:pt>
                <c:pt idx="201">
                  <c:v>2165</c:v>
                </c:pt>
                <c:pt idx="202">
                  <c:v>2201</c:v>
                </c:pt>
                <c:pt idx="203">
                  <c:v>2158</c:v>
                </c:pt>
                <c:pt idx="204">
                  <c:v>2098</c:v>
                </c:pt>
                <c:pt idx="205">
                  <c:v>2067</c:v>
                </c:pt>
                <c:pt idx="206">
                  <c:v>2039</c:v>
                </c:pt>
                <c:pt idx="207">
                  <c:v>1979</c:v>
                </c:pt>
                <c:pt idx="208">
                  <c:v>1969</c:v>
                </c:pt>
                <c:pt idx="209">
                  <c:v>1995</c:v>
                </c:pt>
                <c:pt idx="210">
                  <c:v>1955</c:v>
                </c:pt>
                <c:pt idx="211">
                  <c:v>1916</c:v>
                </c:pt>
                <c:pt idx="212">
                  <c:v>1892</c:v>
                </c:pt>
                <c:pt idx="213">
                  <c:v>1840</c:v>
                </c:pt>
                <c:pt idx="214">
                  <c:v>1814</c:v>
                </c:pt>
                <c:pt idx="215">
                  <c:v>1810</c:v>
                </c:pt>
                <c:pt idx="216">
                  <c:v>1814</c:v>
                </c:pt>
                <c:pt idx="217">
                  <c:v>1768</c:v>
                </c:pt>
                <c:pt idx="218">
                  <c:v>1760</c:v>
                </c:pt>
                <c:pt idx="219">
                  <c:v>1743</c:v>
                </c:pt>
                <c:pt idx="220">
                  <c:v>1707</c:v>
                </c:pt>
                <c:pt idx="221">
                  <c:v>1689</c:v>
                </c:pt>
                <c:pt idx="222">
                  <c:v>1684</c:v>
                </c:pt>
                <c:pt idx="223">
                  <c:v>1691</c:v>
                </c:pt>
                <c:pt idx="224">
                  <c:v>1657</c:v>
                </c:pt>
                <c:pt idx="225">
                  <c:v>1630</c:v>
                </c:pt>
                <c:pt idx="226">
                  <c:v>1613</c:v>
                </c:pt>
                <c:pt idx="227">
                  <c:v>1594</c:v>
                </c:pt>
                <c:pt idx="228">
                  <c:v>1591</c:v>
                </c:pt>
                <c:pt idx="229">
                  <c:v>1590</c:v>
                </c:pt>
                <c:pt idx="230">
                  <c:v>1606</c:v>
                </c:pt>
                <c:pt idx="231">
                  <c:v>1598</c:v>
                </c:pt>
                <c:pt idx="232">
                  <c:v>1567</c:v>
                </c:pt>
                <c:pt idx="233">
                  <c:v>1558</c:v>
                </c:pt>
                <c:pt idx="234">
                  <c:v>1554</c:v>
                </c:pt>
                <c:pt idx="235">
                  <c:v>1539</c:v>
                </c:pt>
                <c:pt idx="236">
                  <c:v>1536</c:v>
                </c:pt>
                <c:pt idx="237">
                  <c:v>1542</c:v>
                </c:pt>
                <c:pt idx="238">
                  <c:v>1539</c:v>
                </c:pt>
                <c:pt idx="239">
                  <c:v>1532</c:v>
                </c:pt>
                <c:pt idx="240">
                  <c:v>1528</c:v>
                </c:pt>
                <c:pt idx="241">
                  <c:v>1525</c:v>
                </c:pt>
                <c:pt idx="242">
                  <c:v>1515</c:v>
                </c:pt>
                <c:pt idx="243">
                  <c:v>1514</c:v>
                </c:pt>
                <c:pt idx="244">
                  <c:v>1520</c:v>
                </c:pt>
                <c:pt idx="245">
                  <c:v>1503</c:v>
                </c:pt>
                <c:pt idx="246">
                  <c:v>1496</c:v>
                </c:pt>
                <c:pt idx="247">
                  <c:v>1491</c:v>
                </c:pt>
                <c:pt idx="248">
                  <c:v>1488</c:v>
                </c:pt>
                <c:pt idx="249">
                  <c:v>1477</c:v>
                </c:pt>
                <c:pt idx="250">
                  <c:v>1477</c:v>
                </c:pt>
                <c:pt idx="251">
                  <c:v>1484</c:v>
                </c:pt>
                <c:pt idx="252">
                  <c:v>1480</c:v>
                </c:pt>
                <c:pt idx="253">
                  <c:v>1473</c:v>
                </c:pt>
                <c:pt idx="254">
                  <c:v>1473</c:v>
                </c:pt>
                <c:pt idx="255">
                  <c:v>1473</c:v>
                </c:pt>
                <c:pt idx="256">
                  <c:v>1466</c:v>
                </c:pt>
                <c:pt idx="257">
                  <c:v>1465</c:v>
                </c:pt>
                <c:pt idx="258">
                  <c:v>1470</c:v>
                </c:pt>
                <c:pt idx="259">
                  <c:v>1468</c:v>
                </c:pt>
                <c:pt idx="260">
                  <c:v>1467</c:v>
                </c:pt>
                <c:pt idx="261">
                  <c:v>1465</c:v>
                </c:pt>
                <c:pt idx="262">
                  <c:v>1464</c:v>
                </c:pt>
                <c:pt idx="263">
                  <c:v>1460</c:v>
                </c:pt>
                <c:pt idx="264">
                  <c:v>1459</c:v>
                </c:pt>
                <c:pt idx="265">
                  <c:v>1462</c:v>
                </c:pt>
                <c:pt idx="266">
                  <c:v>1459</c:v>
                </c:pt>
                <c:pt idx="267">
                  <c:v>1455</c:v>
                </c:pt>
                <c:pt idx="268">
                  <c:v>1453</c:v>
                </c:pt>
                <c:pt idx="269">
                  <c:v>1450</c:v>
                </c:pt>
                <c:pt idx="270">
                  <c:v>1448</c:v>
                </c:pt>
                <c:pt idx="271">
                  <c:v>1445</c:v>
                </c:pt>
                <c:pt idx="272">
                  <c:v>1445</c:v>
                </c:pt>
                <c:pt idx="273">
                  <c:v>1440</c:v>
                </c:pt>
                <c:pt idx="274">
                  <c:v>1440</c:v>
                </c:pt>
                <c:pt idx="275">
                  <c:v>1436</c:v>
                </c:pt>
                <c:pt idx="276">
                  <c:v>1431</c:v>
                </c:pt>
                <c:pt idx="277">
                  <c:v>1430</c:v>
                </c:pt>
                <c:pt idx="278">
                  <c:v>1430</c:v>
                </c:pt>
                <c:pt idx="279">
                  <c:v>1430</c:v>
                </c:pt>
                <c:pt idx="280">
                  <c:v>1428</c:v>
                </c:pt>
                <c:pt idx="281">
                  <c:v>1425</c:v>
                </c:pt>
                <c:pt idx="282">
                  <c:v>1424</c:v>
                </c:pt>
                <c:pt idx="283">
                  <c:v>1425</c:v>
                </c:pt>
                <c:pt idx="284">
                  <c:v>1423</c:v>
                </c:pt>
                <c:pt idx="285">
                  <c:v>1422</c:v>
                </c:pt>
                <c:pt idx="286">
                  <c:v>1422</c:v>
                </c:pt>
                <c:pt idx="287">
                  <c:v>1422</c:v>
                </c:pt>
                <c:pt idx="288">
                  <c:v>1422</c:v>
                </c:pt>
                <c:pt idx="289">
                  <c:v>1421</c:v>
                </c:pt>
                <c:pt idx="290">
                  <c:v>1421</c:v>
                </c:pt>
                <c:pt idx="291">
                  <c:v>1421</c:v>
                </c:pt>
                <c:pt idx="292">
                  <c:v>1421</c:v>
                </c:pt>
                <c:pt idx="293">
                  <c:v>1421</c:v>
                </c:pt>
                <c:pt idx="294">
                  <c:v>1421</c:v>
                </c:pt>
                <c:pt idx="295">
                  <c:v>1422</c:v>
                </c:pt>
                <c:pt idx="296">
                  <c:v>1423</c:v>
                </c:pt>
                <c:pt idx="297">
                  <c:v>1421</c:v>
                </c:pt>
                <c:pt idx="298">
                  <c:v>1421</c:v>
                </c:pt>
                <c:pt idx="299">
                  <c:v>1421</c:v>
                </c:pt>
                <c:pt idx="300">
                  <c:v>1422</c:v>
                </c:pt>
                <c:pt idx="301">
                  <c:v>1422</c:v>
                </c:pt>
                <c:pt idx="302">
                  <c:v>1422</c:v>
                </c:pt>
                <c:pt idx="303">
                  <c:v>1423</c:v>
                </c:pt>
                <c:pt idx="304">
                  <c:v>1421</c:v>
                </c:pt>
                <c:pt idx="305">
                  <c:v>1421</c:v>
                </c:pt>
                <c:pt idx="306">
                  <c:v>1422</c:v>
                </c:pt>
                <c:pt idx="307">
                  <c:v>1422</c:v>
                </c:pt>
                <c:pt idx="308">
                  <c:v>1423</c:v>
                </c:pt>
                <c:pt idx="309">
                  <c:v>1424</c:v>
                </c:pt>
                <c:pt idx="310">
                  <c:v>1424</c:v>
                </c:pt>
                <c:pt idx="311">
                  <c:v>1424</c:v>
                </c:pt>
                <c:pt idx="312">
                  <c:v>1424</c:v>
                </c:pt>
                <c:pt idx="313">
                  <c:v>1425</c:v>
                </c:pt>
                <c:pt idx="314">
                  <c:v>1425</c:v>
                </c:pt>
                <c:pt idx="315">
                  <c:v>1425</c:v>
                </c:pt>
                <c:pt idx="316">
                  <c:v>1425</c:v>
                </c:pt>
                <c:pt idx="317">
                  <c:v>1425</c:v>
                </c:pt>
                <c:pt idx="318">
                  <c:v>1424</c:v>
                </c:pt>
                <c:pt idx="319">
                  <c:v>1424</c:v>
                </c:pt>
                <c:pt idx="320">
                  <c:v>1424</c:v>
                </c:pt>
                <c:pt idx="321">
                  <c:v>1424</c:v>
                </c:pt>
                <c:pt idx="322">
                  <c:v>1423</c:v>
                </c:pt>
                <c:pt idx="323">
                  <c:v>1424</c:v>
                </c:pt>
                <c:pt idx="324">
                  <c:v>1423</c:v>
                </c:pt>
                <c:pt idx="325">
                  <c:v>1423</c:v>
                </c:pt>
                <c:pt idx="326">
                  <c:v>1423</c:v>
                </c:pt>
                <c:pt idx="327">
                  <c:v>1422</c:v>
                </c:pt>
                <c:pt idx="328">
                  <c:v>1421</c:v>
                </c:pt>
                <c:pt idx="329">
                  <c:v>1422</c:v>
                </c:pt>
                <c:pt idx="330">
                  <c:v>1423</c:v>
                </c:pt>
                <c:pt idx="331">
                  <c:v>1423</c:v>
                </c:pt>
                <c:pt idx="332">
                  <c:v>1423</c:v>
                </c:pt>
                <c:pt idx="333">
                  <c:v>1423</c:v>
                </c:pt>
                <c:pt idx="334">
                  <c:v>1423</c:v>
                </c:pt>
                <c:pt idx="335">
                  <c:v>1423</c:v>
                </c:pt>
                <c:pt idx="336">
                  <c:v>1422</c:v>
                </c:pt>
                <c:pt idx="337">
                  <c:v>1422</c:v>
                </c:pt>
                <c:pt idx="338">
                  <c:v>1421</c:v>
                </c:pt>
                <c:pt idx="339">
                  <c:v>1421</c:v>
                </c:pt>
                <c:pt idx="340">
                  <c:v>1421</c:v>
                </c:pt>
                <c:pt idx="341">
                  <c:v>1422</c:v>
                </c:pt>
                <c:pt idx="342">
                  <c:v>1422</c:v>
                </c:pt>
                <c:pt idx="343">
                  <c:v>1421</c:v>
                </c:pt>
                <c:pt idx="344">
                  <c:v>1421</c:v>
                </c:pt>
                <c:pt idx="345">
                  <c:v>1421</c:v>
                </c:pt>
                <c:pt idx="346">
                  <c:v>1421</c:v>
                </c:pt>
                <c:pt idx="347">
                  <c:v>1421</c:v>
                </c:pt>
                <c:pt idx="348">
                  <c:v>1421</c:v>
                </c:pt>
                <c:pt idx="349">
                  <c:v>1422</c:v>
                </c:pt>
                <c:pt idx="350">
                  <c:v>1422</c:v>
                </c:pt>
                <c:pt idx="351">
                  <c:v>1422</c:v>
                </c:pt>
                <c:pt idx="352">
                  <c:v>1423</c:v>
                </c:pt>
                <c:pt idx="353">
                  <c:v>1422</c:v>
                </c:pt>
                <c:pt idx="354">
                  <c:v>1422</c:v>
                </c:pt>
                <c:pt idx="355">
                  <c:v>1422</c:v>
                </c:pt>
                <c:pt idx="356">
                  <c:v>1425</c:v>
                </c:pt>
                <c:pt idx="357">
                  <c:v>1425</c:v>
                </c:pt>
                <c:pt idx="358">
                  <c:v>1425</c:v>
                </c:pt>
                <c:pt idx="359">
                  <c:v>1425</c:v>
                </c:pt>
                <c:pt idx="360">
                  <c:v>1426</c:v>
                </c:pt>
                <c:pt idx="361">
                  <c:v>1425</c:v>
                </c:pt>
                <c:pt idx="362">
                  <c:v>1426</c:v>
                </c:pt>
                <c:pt idx="363">
                  <c:v>1425</c:v>
                </c:pt>
                <c:pt idx="364">
                  <c:v>1425</c:v>
                </c:pt>
                <c:pt idx="365">
                  <c:v>1431</c:v>
                </c:pt>
                <c:pt idx="366">
                  <c:v>1436</c:v>
                </c:pt>
                <c:pt idx="367">
                  <c:v>1439</c:v>
                </c:pt>
                <c:pt idx="368">
                  <c:v>1440</c:v>
                </c:pt>
                <c:pt idx="369">
                  <c:v>1439</c:v>
                </c:pt>
                <c:pt idx="370">
                  <c:v>1444</c:v>
                </c:pt>
                <c:pt idx="371">
                  <c:v>1442</c:v>
                </c:pt>
                <c:pt idx="372">
                  <c:v>1443</c:v>
                </c:pt>
                <c:pt idx="373">
                  <c:v>1444</c:v>
                </c:pt>
                <c:pt idx="374">
                  <c:v>1445</c:v>
                </c:pt>
                <c:pt idx="375">
                  <c:v>1444</c:v>
                </c:pt>
                <c:pt idx="376">
                  <c:v>1443</c:v>
                </c:pt>
                <c:pt idx="377">
                  <c:v>1444</c:v>
                </c:pt>
                <c:pt idx="378">
                  <c:v>1445</c:v>
                </c:pt>
                <c:pt idx="379">
                  <c:v>1444</c:v>
                </c:pt>
                <c:pt idx="380">
                  <c:v>1443</c:v>
                </c:pt>
                <c:pt idx="381">
                  <c:v>1440</c:v>
                </c:pt>
                <c:pt idx="382">
                  <c:v>1438</c:v>
                </c:pt>
                <c:pt idx="383">
                  <c:v>1438</c:v>
                </c:pt>
                <c:pt idx="384">
                  <c:v>1443</c:v>
                </c:pt>
                <c:pt idx="385">
                  <c:v>1443</c:v>
                </c:pt>
                <c:pt idx="386">
                  <c:v>1443</c:v>
                </c:pt>
                <c:pt idx="387">
                  <c:v>1441</c:v>
                </c:pt>
                <c:pt idx="388">
                  <c:v>1441</c:v>
                </c:pt>
                <c:pt idx="389">
                  <c:v>1442</c:v>
                </c:pt>
                <c:pt idx="390">
                  <c:v>1443</c:v>
                </c:pt>
                <c:pt idx="391">
                  <c:v>1449</c:v>
                </c:pt>
                <c:pt idx="392">
                  <c:v>1449</c:v>
                </c:pt>
                <c:pt idx="393">
                  <c:v>1455</c:v>
                </c:pt>
                <c:pt idx="394">
                  <c:v>1456</c:v>
                </c:pt>
                <c:pt idx="395">
                  <c:v>1459</c:v>
                </c:pt>
                <c:pt idx="396">
                  <c:v>1459</c:v>
                </c:pt>
                <c:pt idx="397">
                  <c:v>1459</c:v>
                </c:pt>
                <c:pt idx="398">
                  <c:v>1464</c:v>
                </c:pt>
                <c:pt idx="399">
                  <c:v>1468</c:v>
                </c:pt>
                <c:pt idx="400">
                  <c:v>1476</c:v>
                </c:pt>
                <c:pt idx="401">
                  <c:v>1476</c:v>
                </c:pt>
                <c:pt idx="402">
                  <c:v>1502</c:v>
                </c:pt>
                <c:pt idx="403">
                  <c:v>1503</c:v>
                </c:pt>
                <c:pt idx="404">
                  <c:v>1501</c:v>
                </c:pt>
                <c:pt idx="405">
                  <c:v>1504</c:v>
                </c:pt>
                <c:pt idx="406">
                  <c:v>1501</c:v>
                </c:pt>
                <c:pt idx="407">
                  <c:v>1519</c:v>
                </c:pt>
                <c:pt idx="408">
                  <c:v>1517</c:v>
                </c:pt>
                <c:pt idx="409">
                  <c:v>1523</c:v>
                </c:pt>
                <c:pt idx="410">
                  <c:v>1522</c:v>
                </c:pt>
                <c:pt idx="411">
                  <c:v>1522</c:v>
                </c:pt>
                <c:pt idx="412">
                  <c:v>1538</c:v>
                </c:pt>
                <c:pt idx="413">
                  <c:v>1543</c:v>
                </c:pt>
                <c:pt idx="414">
                  <c:v>1547</c:v>
                </c:pt>
                <c:pt idx="415">
                  <c:v>1549</c:v>
                </c:pt>
                <c:pt idx="416">
                  <c:v>1540</c:v>
                </c:pt>
                <c:pt idx="417">
                  <c:v>1534</c:v>
                </c:pt>
                <c:pt idx="418">
                  <c:v>1536</c:v>
                </c:pt>
                <c:pt idx="419">
                  <c:v>1568</c:v>
                </c:pt>
                <c:pt idx="420">
                  <c:v>1579</c:v>
                </c:pt>
                <c:pt idx="421">
                  <c:v>1602</c:v>
                </c:pt>
                <c:pt idx="422">
                  <c:v>1587</c:v>
                </c:pt>
                <c:pt idx="423">
                  <c:v>1610</c:v>
                </c:pt>
                <c:pt idx="424">
                  <c:v>1613</c:v>
                </c:pt>
                <c:pt idx="425">
                  <c:v>1623</c:v>
                </c:pt>
                <c:pt idx="426">
                  <c:v>1699</c:v>
                </c:pt>
                <c:pt idx="427">
                  <c:v>1722</c:v>
                </c:pt>
                <c:pt idx="428">
                  <c:v>1740</c:v>
                </c:pt>
                <c:pt idx="429">
                  <c:v>1802</c:v>
                </c:pt>
                <c:pt idx="430">
                  <c:v>1839</c:v>
                </c:pt>
                <c:pt idx="431">
                  <c:v>1840</c:v>
                </c:pt>
                <c:pt idx="432">
                  <c:v>1841</c:v>
                </c:pt>
                <c:pt idx="433">
                  <c:v>1916</c:v>
                </c:pt>
                <c:pt idx="434">
                  <c:v>1947</c:v>
                </c:pt>
                <c:pt idx="435">
                  <c:v>1965</c:v>
                </c:pt>
                <c:pt idx="436">
                  <c:v>2001</c:v>
                </c:pt>
                <c:pt idx="437">
                  <c:v>2041</c:v>
                </c:pt>
                <c:pt idx="438">
                  <c:v>2046</c:v>
                </c:pt>
                <c:pt idx="439">
                  <c:v>2058</c:v>
                </c:pt>
                <c:pt idx="440">
                  <c:v>2138</c:v>
                </c:pt>
                <c:pt idx="441">
                  <c:v>2137</c:v>
                </c:pt>
                <c:pt idx="442">
                  <c:v>2124</c:v>
                </c:pt>
                <c:pt idx="443">
                  <c:v>2172</c:v>
                </c:pt>
                <c:pt idx="444">
                  <c:v>2251</c:v>
                </c:pt>
                <c:pt idx="445">
                  <c:v>2242</c:v>
                </c:pt>
                <c:pt idx="446">
                  <c:v>2235</c:v>
                </c:pt>
                <c:pt idx="447">
                  <c:v>2342</c:v>
                </c:pt>
                <c:pt idx="448">
                  <c:v>2330</c:v>
                </c:pt>
                <c:pt idx="449">
                  <c:v>2350</c:v>
                </c:pt>
                <c:pt idx="450">
                  <c:v>2351</c:v>
                </c:pt>
                <c:pt idx="451">
                  <c:v>2393</c:v>
                </c:pt>
                <c:pt idx="452">
                  <c:v>2366</c:v>
                </c:pt>
                <c:pt idx="453">
                  <c:v>2355</c:v>
                </c:pt>
                <c:pt idx="454">
                  <c:v>2422</c:v>
                </c:pt>
                <c:pt idx="455">
                  <c:v>2383</c:v>
                </c:pt>
                <c:pt idx="456">
                  <c:v>2350</c:v>
                </c:pt>
                <c:pt idx="457">
                  <c:v>2368</c:v>
                </c:pt>
                <c:pt idx="458">
                  <c:v>2226</c:v>
                </c:pt>
                <c:pt idx="459">
                  <c:v>2210</c:v>
                </c:pt>
                <c:pt idx="460">
                  <c:v>2181</c:v>
                </c:pt>
                <c:pt idx="461">
                  <c:v>2237</c:v>
                </c:pt>
                <c:pt idx="462">
                  <c:v>2175</c:v>
                </c:pt>
                <c:pt idx="463">
                  <c:v>2144</c:v>
                </c:pt>
                <c:pt idx="464">
                  <c:v>2094</c:v>
                </c:pt>
                <c:pt idx="465">
                  <c:v>2034</c:v>
                </c:pt>
                <c:pt idx="466">
                  <c:v>1983</c:v>
                </c:pt>
                <c:pt idx="467">
                  <c:v>1976</c:v>
                </c:pt>
                <c:pt idx="468">
                  <c:v>2008</c:v>
                </c:pt>
                <c:pt idx="469">
                  <c:v>1964</c:v>
                </c:pt>
                <c:pt idx="470">
                  <c:v>1926</c:v>
                </c:pt>
                <c:pt idx="471">
                  <c:v>1878</c:v>
                </c:pt>
                <c:pt idx="472">
                  <c:v>1838</c:v>
                </c:pt>
                <c:pt idx="473">
                  <c:v>1745</c:v>
                </c:pt>
                <c:pt idx="474">
                  <c:v>1740</c:v>
                </c:pt>
                <c:pt idx="475">
                  <c:v>1767</c:v>
                </c:pt>
                <c:pt idx="476">
                  <c:v>1694</c:v>
                </c:pt>
                <c:pt idx="477">
                  <c:v>1642</c:v>
                </c:pt>
                <c:pt idx="478">
                  <c:v>1577</c:v>
                </c:pt>
                <c:pt idx="479">
                  <c:v>1541</c:v>
                </c:pt>
                <c:pt idx="480">
                  <c:v>1506</c:v>
                </c:pt>
                <c:pt idx="481">
                  <c:v>1492</c:v>
                </c:pt>
                <c:pt idx="482">
                  <c:v>1500</c:v>
                </c:pt>
                <c:pt idx="483">
                  <c:v>1456</c:v>
                </c:pt>
                <c:pt idx="484">
                  <c:v>1420</c:v>
                </c:pt>
                <c:pt idx="485">
                  <c:v>1393</c:v>
                </c:pt>
                <c:pt idx="486">
                  <c:v>1374</c:v>
                </c:pt>
                <c:pt idx="487">
                  <c:v>1346</c:v>
                </c:pt>
                <c:pt idx="488">
                  <c:v>1334</c:v>
                </c:pt>
                <c:pt idx="489">
                  <c:v>1346</c:v>
                </c:pt>
                <c:pt idx="490">
                  <c:v>1320</c:v>
                </c:pt>
                <c:pt idx="491">
                  <c:v>1310</c:v>
                </c:pt>
                <c:pt idx="492">
                  <c:v>1310</c:v>
                </c:pt>
                <c:pt idx="493">
                  <c:v>1310</c:v>
                </c:pt>
                <c:pt idx="494">
                  <c:v>1305</c:v>
                </c:pt>
                <c:pt idx="495">
                  <c:v>1302</c:v>
                </c:pt>
                <c:pt idx="496">
                  <c:v>1318</c:v>
                </c:pt>
                <c:pt idx="497">
                  <c:v>1298</c:v>
                </c:pt>
                <c:pt idx="498">
                  <c:v>1291</c:v>
                </c:pt>
                <c:pt idx="499">
                  <c:v>1283</c:v>
                </c:pt>
                <c:pt idx="500">
                  <c:v>1284</c:v>
                </c:pt>
                <c:pt idx="501">
                  <c:v>1284</c:v>
                </c:pt>
                <c:pt idx="502">
                  <c:v>1297</c:v>
                </c:pt>
                <c:pt idx="503">
                  <c:v>1359</c:v>
                </c:pt>
                <c:pt idx="504">
                  <c:v>1383</c:v>
                </c:pt>
                <c:pt idx="505">
                  <c:v>1414</c:v>
                </c:pt>
                <c:pt idx="506">
                  <c:v>1473</c:v>
                </c:pt>
                <c:pt idx="507">
                  <c:v>1534</c:v>
                </c:pt>
                <c:pt idx="508">
                  <c:v>1547</c:v>
                </c:pt>
                <c:pt idx="509">
                  <c:v>1552</c:v>
                </c:pt>
                <c:pt idx="510">
                  <c:v>1655</c:v>
                </c:pt>
                <c:pt idx="511">
                  <c:v>1754</c:v>
                </c:pt>
                <c:pt idx="512">
                  <c:v>1873</c:v>
                </c:pt>
                <c:pt idx="513">
                  <c:v>1945</c:v>
                </c:pt>
                <c:pt idx="514">
                  <c:v>2001</c:v>
                </c:pt>
                <c:pt idx="515">
                  <c:v>1983</c:v>
                </c:pt>
                <c:pt idx="516">
                  <c:v>1959</c:v>
                </c:pt>
                <c:pt idx="517">
                  <c:v>2042</c:v>
                </c:pt>
                <c:pt idx="518">
                  <c:v>2108</c:v>
                </c:pt>
                <c:pt idx="519">
                  <c:v>2196</c:v>
                </c:pt>
                <c:pt idx="520">
                  <c:v>2248</c:v>
                </c:pt>
                <c:pt idx="521">
                  <c:v>2241</c:v>
                </c:pt>
                <c:pt idx="522">
                  <c:v>2101</c:v>
                </c:pt>
                <c:pt idx="523">
                  <c:v>1985</c:v>
                </c:pt>
                <c:pt idx="524">
                  <c:v>2045</c:v>
                </c:pt>
                <c:pt idx="525">
                  <c:v>2034</c:v>
                </c:pt>
                <c:pt idx="526">
                  <c:v>2078</c:v>
                </c:pt>
                <c:pt idx="527">
                  <c:v>2131</c:v>
                </c:pt>
                <c:pt idx="528">
                  <c:v>2039</c:v>
                </c:pt>
                <c:pt idx="529">
                  <c:v>1875</c:v>
                </c:pt>
                <c:pt idx="530">
                  <c:v>1774</c:v>
                </c:pt>
                <c:pt idx="531">
                  <c:v>1796</c:v>
                </c:pt>
                <c:pt idx="532">
                  <c:v>1762</c:v>
                </c:pt>
                <c:pt idx="533">
                  <c:v>1830</c:v>
                </c:pt>
                <c:pt idx="534">
                  <c:v>1886</c:v>
                </c:pt>
                <c:pt idx="535">
                  <c:v>1684</c:v>
                </c:pt>
                <c:pt idx="536">
                  <c:v>1527</c:v>
                </c:pt>
                <c:pt idx="537">
                  <c:v>1424</c:v>
                </c:pt>
                <c:pt idx="538">
                  <c:v>1380</c:v>
                </c:pt>
                <c:pt idx="539">
                  <c:v>1305</c:v>
                </c:pt>
                <c:pt idx="540">
                  <c:v>1338</c:v>
                </c:pt>
                <c:pt idx="541">
                  <c:v>1351</c:v>
                </c:pt>
                <c:pt idx="542">
                  <c:v>1193</c:v>
                </c:pt>
                <c:pt idx="543">
                  <c:v>1066</c:v>
                </c:pt>
                <c:pt idx="544">
                  <c:v>909</c:v>
                </c:pt>
                <c:pt idx="545">
                  <c:v>868</c:v>
                </c:pt>
                <c:pt idx="546">
                  <c:v>827</c:v>
                </c:pt>
                <c:pt idx="547">
                  <c:v>848</c:v>
                </c:pt>
                <c:pt idx="548">
                  <c:v>855</c:v>
                </c:pt>
                <c:pt idx="549">
                  <c:v>757</c:v>
                </c:pt>
                <c:pt idx="550">
                  <c:v>652</c:v>
                </c:pt>
                <c:pt idx="551">
                  <c:v>585</c:v>
                </c:pt>
                <c:pt idx="552">
                  <c:v>561</c:v>
                </c:pt>
                <c:pt idx="553">
                  <c:v>582</c:v>
                </c:pt>
                <c:pt idx="554">
                  <c:v>611</c:v>
                </c:pt>
                <c:pt idx="555">
                  <c:v>594</c:v>
                </c:pt>
                <c:pt idx="556">
                  <c:v>4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DC7-418F-9894-CC9725FB54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4139039"/>
        <c:axId val="595872255"/>
      </c:lineChart>
      <c:dateAx>
        <c:axId val="76413903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5872255"/>
        <c:crosses val="autoZero"/>
        <c:auto val="1"/>
        <c:lblOffset val="100"/>
        <c:baseTimeUnit val="days"/>
      </c:dateAx>
      <c:valAx>
        <c:axId val="595872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413903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>
                <a:solidFill>
                  <a:schemeClr val="tx1"/>
                </a:solidFill>
              </a:rPr>
              <a:t>Úmrtí klientů podle</a:t>
            </a:r>
            <a:r>
              <a:rPr lang="cs-CZ" baseline="0" dirty="0">
                <a:solidFill>
                  <a:schemeClr val="tx1"/>
                </a:solidFill>
              </a:rPr>
              <a:t> věku kumulativně</a:t>
            </a:r>
            <a:endParaRPr lang="cs-CZ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C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2:$A$104</c:f>
              <c:numCache>
                <c:formatCode>General</c:formatCode>
                <c:ptCount val="103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24</c:v>
                </c:pt>
                <c:pt idx="21">
                  <c:v>25</c:v>
                </c:pt>
                <c:pt idx="22">
                  <c:v>26</c:v>
                </c:pt>
                <c:pt idx="23">
                  <c:v>27</c:v>
                </c:pt>
                <c:pt idx="24">
                  <c:v>28</c:v>
                </c:pt>
                <c:pt idx="25">
                  <c:v>29</c:v>
                </c:pt>
                <c:pt idx="26">
                  <c:v>30</c:v>
                </c:pt>
                <c:pt idx="27">
                  <c:v>31</c:v>
                </c:pt>
                <c:pt idx="28">
                  <c:v>32</c:v>
                </c:pt>
                <c:pt idx="29">
                  <c:v>33</c:v>
                </c:pt>
                <c:pt idx="30">
                  <c:v>34</c:v>
                </c:pt>
                <c:pt idx="31">
                  <c:v>35</c:v>
                </c:pt>
                <c:pt idx="32">
                  <c:v>36</c:v>
                </c:pt>
                <c:pt idx="33">
                  <c:v>37</c:v>
                </c:pt>
                <c:pt idx="34">
                  <c:v>38</c:v>
                </c:pt>
                <c:pt idx="35">
                  <c:v>39</c:v>
                </c:pt>
                <c:pt idx="36">
                  <c:v>40</c:v>
                </c:pt>
                <c:pt idx="37">
                  <c:v>41</c:v>
                </c:pt>
                <c:pt idx="38">
                  <c:v>42</c:v>
                </c:pt>
                <c:pt idx="39">
                  <c:v>43</c:v>
                </c:pt>
                <c:pt idx="40">
                  <c:v>44</c:v>
                </c:pt>
                <c:pt idx="41">
                  <c:v>45</c:v>
                </c:pt>
                <c:pt idx="42">
                  <c:v>46</c:v>
                </c:pt>
                <c:pt idx="43">
                  <c:v>47</c:v>
                </c:pt>
                <c:pt idx="44">
                  <c:v>48</c:v>
                </c:pt>
                <c:pt idx="45">
                  <c:v>49</c:v>
                </c:pt>
                <c:pt idx="46">
                  <c:v>50</c:v>
                </c:pt>
                <c:pt idx="47">
                  <c:v>51</c:v>
                </c:pt>
                <c:pt idx="48">
                  <c:v>52</c:v>
                </c:pt>
                <c:pt idx="49">
                  <c:v>53</c:v>
                </c:pt>
                <c:pt idx="50">
                  <c:v>54</c:v>
                </c:pt>
                <c:pt idx="51">
                  <c:v>55</c:v>
                </c:pt>
                <c:pt idx="52">
                  <c:v>56</c:v>
                </c:pt>
                <c:pt idx="53">
                  <c:v>57</c:v>
                </c:pt>
                <c:pt idx="54">
                  <c:v>58</c:v>
                </c:pt>
                <c:pt idx="55">
                  <c:v>59</c:v>
                </c:pt>
                <c:pt idx="56">
                  <c:v>60</c:v>
                </c:pt>
                <c:pt idx="57">
                  <c:v>61</c:v>
                </c:pt>
                <c:pt idx="58">
                  <c:v>62</c:v>
                </c:pt>
                <c:pt idx="59">
                  <c:v>63</c:v>
                </c:pt>
                <c:pt idx="60">
                  <c:v>64</c:v>
                </c:pt>
                <c:pt idx="61">
                  <c:v>65</c:v>
                </c:pt>
                <c:pt idx="62">
                  <c:v>66</c:v>
                </c:pt>
                <c:pt idx="63">
                  <c:v>67</c:v>
                </c:pt>
                <c:pt idx="64">
                  <c:v>68</c:v>
                </c:pt>
                <c:pt idx="65">
                  <c:v>69</c:v>
                </c:pt>
                <c:pt idx="66">
                  <c:v>70</c:v>
                </c:pt>
                <c:pt idx="67">
                  <c:v>71</c:v>
                </c:pt>
                <c:pt idx="68">
                  <c:v>72</c:v>
                </c:pt>
                <c:pt idx="69">
                  <c:v>73</c:v>
                </c:pt>
                <c:pt idx="70">
                  <c:v>74</c:v>
                </c:pt>
                <c:pt idx="71">
                  <c:v>75</c:v>
                </c:pt>
                <c:pt idx="72">
                  <c:v>76</c:v>
                </c:pt>
                <c:pt idx="73">
                  <c:v>77</c:v>
                </c:pt>
                <c:pt idx="74">
                  <c:v>78</c:v>
                </c:pt>
                <c:pt idx="75">
                  <c:v>79</c:v>
                </c:pt>
                <c:pt idx="76">
                  <c:v>80</c:v>
                </c:pt>
                <c:pt idx="77">
                  <c:v>81</c:v>
                </c:pt>
                <c:pt idx="78">
                  <c:v>82</c:v>
                </c:pt>
                <c:pt idx="79">
                  <c:v>83</c:v>
                </c:pt>
                <c:pt idx="80">
                  <c:v>84</c:v>
                </c:pt>
                <c:pt idx="81">
                  <c:v>85</c:v>
                </c:pt>
                <c:pt idx="82">
                  <c:v>86</c:v>
                </c:pt>
                <c:pt idx="83">
                  <c:v>87</c:v>
                </c:pt>
                <c:pt idx="84">
                  <c:v>88</c:v>
                </c:pt>
                <c:pt idx="85">
                  <c:v>89</c:v>
                </c:pt>
                <c:pt idx="86">
                  <c:v>90</c:v>
                </c:pt>
                <c:pt idx="87">
                  <c:v>91</c:v>
                </c:pt>
                <c:pt idx="88">
                  <c:v>92</c:v>
                </c:pt>
                <c:pt idx="89">
                  <c:v>93</c:v>
                </c:pt>
                <c:pt idx="90">
                  <c:v>94</c:v>
                </c:pt>
                <c:pt idx="91">
                  <c:v>95</c:v>
                </c:pt>
                <c:pt idx="92">
                  <c:v>96</c:v>
                </c:pt>
                <c:pt idx="93">
                  <c:v>97</c:v>
                </c:pt>
                <c:pt idx="94">
                  <c:v>98</c:v>
                </c:pt>
                <c:pt idx="95">
                  <c:v>99</c:v>
                </c:pt>
                <c:pt idx="96">
                  <c:v>100</c:v>
                </c:pt>
                <c:pt idx="97">
                  <c:v>101</c:v>
                </c:pt>
                <c:pt idx="98">
                  <c:v>102</c:v>
                </c:pt>
                <c:pt idx="99">
                  <c:v>103</c:v>
                </c:pt>
                <c:pt idx="100">
                  <c:v>104</c:v>
                </c:pt>
                <c:pt idx="101">
                  <c:v>107</c:v>
                </c:pt>
                <c:pt idx="102">
                  <c:v>117</c:v>
                </c:pt>
              </c:numCache>
            </c:numRef>
          </c:cat>
          <c:val>
            <c:numRef>
              <c:f>List1!$C$2:$C$104</c:f>
              <c:numCache>
                <c:formatCode>General</c:formatCode>
                <c:ptCount val="10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2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3</c:v>
                </c:pt>
                <c:pt idx="32">
                  <c:v>1</c:v>
                </c:pt>
                <c:pt idx="33">
                  <c:v>1</c:v>
                </c:pt>
                <c:pt idx="34">
                  <c:v>0</c:v>
                </c:pt>
                <c:pt idx="35">
                  <c:v>1</c:v>
                </c:pt>
                <c:pt idx="36">
                  <c:v>0</c:v>
                </c:pt>
                <c:pt idx="37">
                  <c:v>3</c:v>
                </c:pt>
                <c:pt idx="38">
                  <c:v>1</c:v>
                </c:pt>
                <c:pt idx="39">
                  <c:v>3</c:v>
                </c:pt>
                <c:pt idx="40">
                  <c:v>0</c:v>
                </c:pt>
                <c:pt idx="41">
                  <c:v>2</c:v>
                </c:pt>
                <c:pt idx="42">
                  <c:v>2</c:v>
                </c:pt>
                <c:pt idx="43">
                  <c:v>0</c:v>
                </c:pt>
                <c:pt idx="44">
                  <c:v>1</c:v>
                </c:pt>
                <c:pt idx="45">
                  <c:v>2</c:v>
                </c:pt>
                <c:pt idx="46">
                  <c:v>5</c:v>
                </c:pt>
                <c:pt idx="47">
                  <c:v>3</c:v>
                </c:pt>
                <c:pt idx="48">
                  <c:v>3</c:v>
                </c:pt>
                <c:pt idx="49">
                  <c:v>4</c:v>
                </c:pt>
                <c:pt idx="50">
                  <c:v>5</c:v>
                </c:pt>
                <c:pt idx="51">
                  <c:v>4</c:v>
                </c:pt>
                <c:pt idx="52">
                  <c:v>4</c:v>
                </c:pt>
                <c:pt idx="53">
                  <c:v>6</c:v>
                </c:pt>
                <c:pt idx="54">
                  <c:v>3</c:v>
                </c:pt>
                <c:pt idx="55">
                  <c:v>11</c:v>
                </c:pt>
                <c:pt idx="56">
                  <c:v>11</c:v>
                </c:pt>
                <c:pt idx="57">
                  <c:v>16</c:v>
                </c:pt>
                <c:pt idx="58">
                  <c:v>11</c:v>
                </c:pt>
                <c:pt idx="59">
                  <c:v>19</c:v>
                </c:pt>
                <c:pt idx="60">
                  <c:v>21</c:v>
                </c:pt>
                <c:pt idx="61">
                  <c:v>20</c:v>
                </c:pt>
                <c:pt idx="62">
                  <c:v>23</c:v>
                </c:pt>
                <c:pt idx="63">
                  <c:v>31</c:v>
                </c:pt>
                <c:pt idx="64">
                  <c:v>31</c:v>
                </c:pt>
                <c:pt idx="65">
                  <c:v>40</c:v>
                </c:pt>
                <c:pt idx="66">
                  <c:v>47</c:v>
                </c:pt>
                <c:pt idx="67">
                  <c:v>38</c:v>
                </c:pt>
                <c:pt idx="68">
                  <c:v>58</c:v>
                </c:pt>
                <c:pt idx="69">
                  <c:v>63</c:v>
                </c:pt>
                <c:pt idx="70">
                  <c:v>82</c:v>
                </c:pt>
                <c:pt idx="71">
                  <c:v>70</c:v>
                </c:pt>
                <c:pt idx="72">
                  <c:v>88</c:v>
                </c:pt>
                <c:pt idx="73">
                  <c:v>87</c:v>
                </c:pt>
                <c:pt idx="74">
                  <c:v>104</c:v>
                </c:pt>
                <c:pt idx="75">
                  <c:v>110</c:v>
                </c:pt>
                <c:pt idx="76">
                  <c:v>123</c:v>
                </c:pt>
                <c:pt idx="77">
                  <c:v>128</c:v>
                </c:pt>
                <c:pt idx="78">
                  <c:v>114</c:v>
                </c:pt>
                <c:pt idx="79">
                  <c:v>138</c:v>
                </c:pt>
                <c:pt idx="80">
                  <c:v>143</c:v>
                </c:pt>
                <c:pt idx="81">
                  <c:v>159</c:v>
                </c:pt>
                <c:pt idx="82">
                  <c:v>190</c:v>
                </c:pt>
                <c:pt idx="83">
                  <c:v>162</c:v>
                </c:pt>
                <c:pt idx="84">
                  <c:v>200</c:v>
                </c:pt>
                <c:pt idx="85">
                  <c:v>201</c:v>
                </c:pt>
                <c:pt idx="86">
                  <c:v>187</c:v>
                </c:pt>
                <c:pt idx="87">
                  <c:v>182</c:v>
                </c:pt>
                <c:pt idx="88">
                  <c:v>156</c:v>
                </c:pt>
                <c:pt idx="89">
                  <c:v>107</c:v>
                </c:pt>
                <c:pt idx="90">
                  <c:v>93</c:v>
                </c:pt>
                <c:pt idx="91">
                  <c:v>64</c:v>
                </c:pt>
                <c:pt idx="92">
                  <c:v>62</c:v>
                </c:pt>
                <c:pt idx="93">
                  <c:v>51</c:v>
                </c:pt>
                <c:pt idx="94">
                  <c:v>29</c:v>
                </c:pt>
                <c:pt idx="95">
                  <c:v>22</c:v>
                </c:pt>
                <c:pt idx="96">
                  <c:v>10</c:v>
                </c:pt>
                <c:pt idx="97">
                  <c:v>5</c:v>
                </c:pt>
                <c:pt idx="98">
                  <c:v>0</c:v>
                </c:pt>
                <c:pt idx="99">
                  <c:v>0</c:v>
                </c:pt>
                <c:pt idx="100">
                  <c:v>1</c:v>
                </c:pt>
                <c:pt idx="101">
                  <c:v>1</c:v>
                </c:pt>
                <c:pt idx="10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AA-4DA2-A610-EEBC9E60CB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818323535"/>
        <c:axId val="437097648"/>
      </c:barChart>
      <c:catAx>
        <c:axId val="8183235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Vě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37097648"/>
        <c:crosses val="autoZero"/>
        <c:auto val="1"/>
        <c:lblAlgn val="ctr"/>
        <c:lblOffset val="100"/>
        <c:noMultiLvlLbl val="0"/>
      </c:catAx>
      <c:valAx>
        <c:axId val="437097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Počet klientů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183235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>
                <a:solidFill>
                  <a:schemeClr val="tx1"/>
                </a:solidFill>
              </a:rPr>
              <a:t>Pozitivní klienti podle věku kumulativně</a:t>
            </a:r>
            <a:endParaRPr lang="en-US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2:$A$104</c:f>
              <c:numCache>
                <c:formatCode>General</c:formatCode>
                <c:ptCount val="103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24</c:v>
                </c:pt>
                <c:pt idx="21">
                  <c:v>25</c:v>
                </c:pt>
                <c:pt idx="22">
                  <c:v>26</c:v>
                </c:pt>
                <c:pt idx="23">
                  <c:v>27</c:v>
                </c:pt>
                <c:pt idx="24">
                  <c:v>28</c:v>
                </c:pt>
                <c:pt idx="25">
                  <c:v>29</c:v>
                </c:pt>
                <c:pt idx="26">
                  <c:v>30</c:v>
                </c:pt>
                <c:pt idx="27">
                  <c:v>31</c:v>
                </c:pt>
                <c:pt idx="28">
                  <c:v>32</c:v>
                </c:pt>
                <c:pt idx="29">
                  <c:v>33</c:v>
                </c:pt>
                <c:pt idx="30">
                  <c:v>34</c:v>
                </c:pt>
                <c:pt idx="31">
                  <c:v>35</c:v>
                </c:pt>
                <c:pt idx="32">
                  <c:v>36</c:v>
                </c:pt>
                <c:pt idx="33">
                  <c:v>37</c:v>
                </c:pt>
                <c:pt idx="34">
                  <c:v>38</c:v>
                </c:pt>
                <c:pt idx="35">
                  <c:v>39</c:v>
                </c:pt>
                <c:pt idx="36">
                  <c:v>40</c:v>
                </c:pt>
                <c:pt idx="37">
                  <c:v>41</c:v>
                </c:pt>
                <c:pt idx="38">
                  <c:v>42</c:v>
                </c:pt>
                <c:pt idx="39">
                  <c:v>43</c:v>
                </c:pt>
                <c:pt idx="40">
                  <c:v>44</c:v>
                </c:pt>
                <c:pt idx="41">
                  <c:v>45</c:v>
                </c:pt>
                <c:pt idx="42">
                  <c:v>46</c:v>
                </c:pt>
                <c:pt idx="43">
                  <c:v>47</c:v>
                </c:pt>
                <c:pt idx="44">
                  <c:v>48</c:v>
                </c:pt>
                <c:pt idx="45">
                  <c:v>49</c:v>
                </c:pt>
                <c:pt idx="46">
                  <c:v>50</c:v>
                </c:pt>
                <c:pt idx="47">
                  <c:v>51</c:v>
                </c:pt>
                <c:pt idx="48">
                  <c:v>52</c:v>
                </c:pt>
                <c:pt idx="49">
                  <c:v>53</c:v>
                </c:pt>
                <c:pt idx="50">
                  <c:v>54</c:v>
                </c:pt>
                <c:pt idx="51">
                  <c:v>55</c:v>
                </c:pt>
                <c:pt idx="52">
                  <c:v>56</c:v>
                </c:pt>
                <c:pt idx="53">
                  <c:v>57</c:v>
                </c:pt>
                <c:pt idx="54">
                  <c:v>58</c:v>
                </c:pt>
                <c:pt idx="55">
                  <c:v>59</c:v>
                </c:pt>
                <c:pt idx="56">
                  <c:v>60</c:v>
                </c:pt>
                <c:pt idx="57">
                  <c:v>61</c:v>
                </c:pt>
                <c:pt idx="58">
                  <c:v>62</c:v>
                </c:pt>
                <c:pt idx="59">
                  <c:v>63</c:v>
                </c:pt>
                <c:pt idx="60">
                  <c:v>64</c:v>
                </c:pt>
                <c:pt idx="61">
                  <c:v>65</c:v>
                </c:pt>
                <c:pt idx="62">
                  <c:v>66</c:v>
                </c:pt>
                <c:pt idx="63">
                  <c:v>67</c:v>
                </c:pt>
                <c:pt idx="64">
                  <c:v>68</c:v>
                </c:pt>
                <c:pt idx="65">
                  <c:v>69</c:v>
                </c:pt>
                <c:pt idx="66">
                  <c:v>70</c:v>
                </c:pt>
                <c:pt idx="67">
                  <c:v>71</c:v>
                </c:pt>
                <c:pt idx="68">
                  <c:v>72</c:v>
                </c:pt>
                <c:pt idx="69">
                  <c:v>73</c:v>
                </c:pt>
                <c:pt idx="70">
                  <c:v>74</c:v>
                </c:pt>
                <c:pt idx="71">
                  <c:v>75</c:v>
                </c:pt>
                <c:pt idx="72">
                  <c:v>76</c:v>
                </c:pt>
                <c:pt idx="73">
                  <c:v>77</c:v>
                </c:pt>
                <c:pt idx="74">
                  <c:v>78</c:v>
                </c:pt>
                <c:pt idx="75">
                  <c:v>79</c:v>
                </c:pt>
                <c:pt idx="76">
                  <c:v>80</c:v>
                </c:pt>
                <c:pt idx="77">
                  <c:v>81</c:v>
                </c:pt>
                <c:pt idx="78">
                  <c:v>82</c:v>
                </c:pt>
                <c:pt idx="79">
                  <c:v>83</c:v>
                </c:pt>
                <c:pt idx="80">
                  <c:v>84</c:v>
                </c:pt>
                <c:pt idx="81">
                  <c:v>85</c:v>
                </c:pt>
                <c:pt idx="82">
                  <c:v>86</c:v>
                </c:pt>
                <c:pt idx="83">
                  <c:v>87</c:v>
                </c:pt>
                <c:pt idx="84">
                  <c:v>88</c:v>
                </c:pt>
                <c:pt idx="85">
                  <c:v>89</c:v>
                </c:pt>
                <c:pt idx="86">
                  <c:v>90</c:v>
                </c:pt>
                <c:pt idx="87">
                  <c:v>91</c:v>
                </c:pt>
                <c:pt idx="88">
                  <c:v>92</c:v>
                </c:pt>
                <c:pt idx="89">
                  <c:v>93</c:v>
                </c:pt>
                <c:pt idx="90">
                  <c:v>94</c:v>
                </c:pt>
                <c:pt idx="91">
                  <c:v>95</c:v>
                </c:pt>
                <c:pt idx="92">
                  <c:v>96</c:v>
                </c:pt>
                <c:pt idx="93">
                  <c:v>97</c:v>
                </c:pt>
                <c:pt idx="94">
                  <c:v>98</c:v>
                </c:pt>
                <c:pt idx="95">
                  <c:v>99</c:v>
                </c:pt>
                <c:pt idx="96">
                  <c:v>100</c:v>
                </c:pt>
                <c:pt idx="97">
                  <c:v>101</c:v>
                </c:pt>
                <c:pt idx="98">
                  <c:v>102</c:v>
                </c:pt>
                <c:pt idx="99">
                  <c:v>103</c:v>
                </c:pt>
                <c:pt idx="100">
                  <c:v>104</c:v>
                </c:pt>
                <c:pt idx="101">
                  <c:v>107</c:v>
                </c:pt>
                <c:pt idx="102">
                  <c:v>117</c:v>
                </c:pt>
              </c:numCache>
            </c:numRef>
          </c:cat>
          <c:val>
            <c:numRef>
              <c:f>List1!$B$2:$B$104</c:f>
              <c:numCache>
                <c:formatCode>General</c:formatCode>
                <c:ptCount val="103"/>
                <c:pt idx="0">
                  <c:v>2</c:v>
                </c:pt>
                <c:pt idx="1">
                  <c:v>2</c:v>
                </c:pt>
                <c:pt idx="2">
                  <c:v>4</c:v>
                </c:pt>
                <c:pt idx="3">
                  <c:v>4</c:v>
                </c:pt>
                <c:pt idx="4">
                  <c:v>8</c:v>
                </c:pt>
                <c:pt idx="5">
                  <c:v>10</c:v>
                </c:pt>
                <c:pt idx="6">
                  <c:v>5</c:v>
                </c:pt>
                <c:pt idx="7">
                  <c:v>17</c:v>
                </c:pt>
                <c:pt idx="8">
                  <c:v>17</c:v>
                </c:pt>
                <c:pt idx="9">
                  <c:v>19</c:v>
                </c:pt>
                <c:pt idx="10">
                  <c:v>20</c:v>
                </c:pt>
                <c:pt idx="11">
                  <c:v>14</c:v>
                </c:pt>
                <c:pt idx="12">
                  <c:v>32</c:v>
                </c:pt>
                <c:pt idx="13">
                  <c:v>20</c:v>
                </c:pt>
                <c:pt idx="14">
                  <c:v>29</c:v>
                </c:pt>
                <c:pt idx="15">
                  <c:v>26</c:v>
                </c:pt>
                <c:pt idx="16">
                  <c:v>38</c:v>
                </c:pt>
                <c:pt idx="17">
                  <c:v>32</c:v>
                </c:pt>
                <c:pt idx="18">
                  <c:v>27</c:v>
                </c:pt>
                <c:pt idx="19">
                  <c:v>38</c:v>
                </c:pt>
                <c:pt idx="20">
                  <c:v>49</c:v>
                </c:pt>
                <c:pt idx="21">
                  <c:v>60</c:v>
                </c:pt>
                <c:pt idx="22">
                  <c:v>67</c:v>
                </c:pt>
                <c:pt idx="23">
                  <c:v>64</c:v>
                </c:pt>
                <c:pt idx="24">
                  <c:v>83</c:v>
                </c:pt>
                <c:pt idx="25">
                  <c:v>74</c:v>
                </c:pt>
                <c:pt idx="26">
                  <c:v>81</c:v>
                </c:pt>
                <c:pt idx="27">
                  <c:v>84</c:v>
                </c:pt>
                <c:pt idx="28">
                  <c:v>86</c:v>
                </c:pt>
                <c:pt idx="29">
                  <c:v>88</c:v>
                </c:pt>
                <c:pt idx="30">
                  <c:v>100</c:v>
                </c:pt>
                <c:pt idx="31">
                  <c:v>94</c:v>
                </c:pt>
                <c:pt idx="32">
                  <c:v>86</c:v>
                </c:pt>
                <c:pt idx="33">
                  <c:v>99</c:v>
                </c:pt>
                <c:pt idx="34">
                  <c:v>133</c:v>
                </c:pt>
                <c:pt idx="35">
                  <c:v>106</c:v>
                </c:pt>
                <c:pt idx="36">
                  <c:v>135</c:v>
                </c:pt>
                <c:pt idx="37">
                  <c:v>151</c:v>
                </c:pt>
                <c:pt idx="38">
                  <c:v>136</c:v>
                </c:pt>
                <c:pt idx="39">
                  <c:v>143</c:v>
                </c:pt>
                <c:pt idx="40">
                  <c:v>162</c:v>
                </c:pt>
                <c:pt idx="41">
                  <c:v>157</c:v>
                </c:pt>
                <c:pt idx="42">
                  <c:v>162</c:v>
                </c:pt>
                <c:pt idx="43">
                  <c:v>162</c:v>
                </c:pt>
                <c:pt idx="44">
                  <c:v>140</c:v>
                </c:pt>
                <c:pt idx="45">
                  <c:v>147</c:v>
                </c:pt>
                <c:pt idx="46">
                  <c:v>157</c:v>
                </c:pt>
                <c:pt idx="47">
                  <c:v>171</c:v>
                </c:pt>
                <c:pt idx="48">
                  <c:v>140</c:v>
                </c:pt>
                <c:pt idx="49">
                  <c:v>161</c:v>
                </c:pt>
                <c:pt idx="50">
                  <c:v>172</c:v>
                </c:pt>
                <c:pt idx="51">
                  <c:v>197</c:v>
                </c:pt>
                <c:pt idx="52">
                  <c:v>186</c:v>
                </c:pt>
                <c:pt idx="53">
                  <c:v>187</c:v>
                </c:pt>
                <c:pt idx="54">
                  <c:v>160</c:v>
                </c:pt>
                <c:pt idx="55">
                  <c:v>199</c:v>
                </c:pt>
                <c:pt idx="56">
                  <c:v>230</c:v>
                </c:pt>
                <c:pt idx="57">
                  <c:v>229</c:v>
                </c:pt>
                <c:pt idx="58">
                  <c:v>248</c:v>
                </c:pt>
                <c:pt idx="59">
                  <c:v>282</c:v>
                </c:pt>
                <c:pt idx="60">
                  <c:v>340</c:v>
                </c:pt>
                <c:pt idx="61">
                  <c:v>313</c:v>
                </c:pt>
                <c:pt idx="62">
                  <c:v>346</c:v>
                </c:pt>
                <c:pt idx="63">
                  <c:v>360</c:v>
                </c:pt>
                <c:pt idx="64">
                  <c:v>378</c:v>
                </c:pt>
                <c:pt idx="65">
                  <c:v>466</c:v>
                </c:pt>
                <c:pt idx="66">
                  <c:v>487</c:v>
                </c:pt>
                <c:pt idx="67">
                  <c:v>503</c:v>
                </c:pt>
                <c:pt idx="68">
                  <c:v>591</c:v>
                </c:pt>
                <c:pt idx="69">
                  <c:v>633</c:v>
                </c:pt>
                <c:pt idx="70">
                  <c:v>670</c:v>
                </c:pt>
                <c:pt idx="71">
                  <c:v>635</c:v>
                </c:pt>
                <c:pt idx="72">
                  <c:v>772</c:v>
                </c:pt>
                <c:pt idx="73">
                  <c:v>807</c:v>
                </c:pt>
                <c:pt idx="74">
                  <c:v>820</c:v>
                </c:pt>
                <c:pt idx="75">
                  <c:v>887</c:v>
                </c:pt>
                <c:pt idx="76">
                  <c:v>979</c:v>
                </c:pt>
                <c:pt idx="77">
                  <c:v>973</c:v>
                </c:pt>
                <c:pt idx="78">
                  <c:v>979</c:v>
                </c:pt>
                <c:pt idx="79">
                  <c:v>1103</c:v>
                </c:pt>
                <c:pt idx="80">
                  <c:v>1076</c:v>
                </c:pt>
                <c:pt idx="81">
                  <c:v>1214</c:v>
                </c:pt>
                <c:pt idx="82">
                  <c:v>1278</c:v>
                </c:pt>
                <c:pt idx="83">
                  <c:v>1299</c:v>
                </c:pt>
                <c:pt idx="84">
                  <c:v>1361</c:v>
                </c:pt>
                <c:pt idx="85">
                  <c:v>1301</c:v>
                </c:pt>
                <c:pt idx="86">
                  <c:v>1285</c:v>
                </c:pt>
                <c:pt idx="87">
                  <c:v>1090</c:v>
                </c:pt>
                <c:pt idx="88">
                  <c:v>960</c:v>
                </c:pt>
                <c:pt idx="89">
                  <c:v>783</c:v>
                </c:pt>
                <c:pt idx="90">
                  <c:v>561</c:v>
                </c:pt>
                <c:pt idx="91">
                  <c:v>436</c:v>
                </c:pt>
                <c:pt idx="92">
                  <c:v>328</c:v>
                </c:pt>
                <c:pt idx="93">
                  <c:v>241</c:v>
                </c:pt>
                <c:pt idx="94">
                  <c:v>157</c:v>
                </c:pt>
                <c:pt idx="95">
                  <c:v>103</c:v>
                </c:pt>
                <c:pt idx="96">
                  <c:v>46</c:v>
                </c:pt>
                <c:pt idx="97">
                  <c:v>28</c:v>
                </c:pt>
                <c:pt idx="98">
                  <c:v>7</c:v>
                </c:pt>
                <c:pt idx="99">
                  <c:v>5</c:v>
                </c:pt>
                <c:pt idx="100">
                  <c:v>3</c:v>
                </c:pt>
                <c:pt idx="101">
                  <c:v>2</c:v>
                </c:pt>
                <c:pt idx="10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8F-4290-AA04-A5FA334761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818323535"/>
        <c:axId val="437097648"/>
      </c:barChart>
      <c:catAx>
        <c:axId val="8183235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Vě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37097648"/>
        <c:crosses val="autoZero"/>
        <c:auto val="1"/>
        <c:lblAlgn val="ctr"/>
        <c:lblOffset val="100"/>
        <c:noMultiLvlLbl val="0"/>
      </c:catAx>
      <c:valAx>
        <c:axId val="437097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Počet klientů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183235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095798771781857E-2"/>
          <c:y val="2.8705141534522347E-2"/>
          <c:w val="0.91847729224387953"/>
          <c:h val="0.825277630035093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klinet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58</c:f>
              <c:numCache>
                <c:formatCode>m/d/yyyy</c:formatCode>
                <c:ptCount val="55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</c:numCache>
            </c:numRef>
          </c:cat>
          <c:val>
            <c:numRef>
              <c:f>Sheet1!$B$2:$B$558</c:f>
              <c:numCache>
                <c:formatCode>#\ ##0_ ;\-#\ ##0\ </c:formatCode>
                <c:ptCount val="557"/>
                <c:pt idx="0">
                  <c:v>6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4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1</c:v>
                </c:pt>
                <c:pt idx="19">
                  <c:v>4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3</c:v>
                </c:pt>
                <c:pt idx="24">
                  <c:v>1</c:v>
                </c:pt>
                <c:pt idx="25">
                  <c:v>5</c:v>
                </c:pt>
                <c:pt idx="26">
                  <c:v>5</c:v>
                </c:pt>
                <c:pt idx="27">
                  <c:v>3</c:v>
                </c:pt>
                <c:pt idx="28">
                  <c:v>5</c:v>
                </c:pt>
                <c:pt idx="29">
                  <c:v>28</c:v>
                </c:pt>
                <c:pt idx="30">
                  <c:v>31</c:v>
                </c:pt>
                <c:pt idx="31">
                  <c:v>62</c:v>
                </c:pt>
                <c:pt idx="32">
                  <c:v>36</c:v>
                </c:pt>
                <c:pt idx="33">
                  <c:v>54</c:v>
                </c:pt>
                <c:pt idx="34">
                  <c:v>167</c:v>
                </c:pt>
                <c:pt idx="35">
                  <c:v>82</c:v>
                </c:pt>
                <c:pt idx="36">
                  <c:v>45</c:v>
                </c:pt>
                <c:pt idx="37">
                  <c:v>79</c:v>
                </c:pt>
                <c:pt idx="38">
                  <c:v>139</c:v>
                </c:pt>
                <c:pt idx="39">
                  <c:v>30</c:v>
                </c:pt>
                <c:pt idx="40">
                  <c:v>13</c:v>
                </c:pt>
                <c:pt idx="41">
                  <c:v>139</c:v>
                </c:pt>
                <c:pt idx="42">
                  <c:v>225</c:v>
                </c:pt>
                <c:pt idx="43">
                  <c:v>182</c:v>
                </c:pt>
                <c:pt idx="44">
                  <c:v>203</c:v>
                </c:pt>
                <c:pt idx="45">
                  <c:v>206</c:v>
                </c:pt>
                <c:pt idx="46">
                  <c:v>158</c:v>
                </c:pt>
                <c:pt idx="47">
                  <c:v>41</c:v>
                </c:pt>
                <c:pt idx="48">
                  <c:v>246</c:v>
                </c:pt>
                <c:pt idx="49">
                  <c:v>203</c:v>
                </c:pt>
                <c:pt idx="50">
                  <c:v>327</c:v>
                </c:pt>
                <c:pt idx="51">
                  <c:v>238</c:v>
                </c:pt>
                <c:pt idx="52">
                  <c:v>424</c:v>
                </c:pt>
                <c:pt idx="53">
                  <c:v>229</c:v>
                </c:pt>
                <c:pt idx="54">
                  <c:v>198</c:v>
                </c:pt>
                <c:pt idx="55">
                  <c:v>391</c:v>
                </c:pt>
                <c:pt idx="56">
                  <c:v>536</c:v>
                </c:pt>
                <c:pt idx="57">
                  <c:v>266</c:v>
                </c:pt>
                <c:pt idx="58">
                  <c:v>547</c:v>
                </c:pt>
                <c:pt idx="59">
                  <c:v>589</c:v>
                </c:pt>
                <c:pt idx="60">
                  <c:v>339</c:v>
                </c:pt>
                <c:pt idx="61">
                  <c:v>216</c:v>
                </c:pt>
                <c:pt idx="62">
                  <c:v>337</c:v>
                </c:pt>
                <c:pt idx="63">
                  <c:v>349</c:v>
                </c:pt>
                <c:pt idx="64">
                  <c:v>427</c:v>
                </c:pt>
                <c:pt idx="65">
                  <c:v>541</c:v>
                </c:pt>
                <c:pt idx="66">
                  <c:v>499</c:v>
                </c:pt>
                <c:pt idx="67">
                  <c:v>216</c:v>
                </c:pt>
                <c:pt idx="68">
                  <c:v>81</c:v>
                </c:pt>
                <c:pt idx="69">
                  <c:v>208</c:v>
                </c:pt>
                <c:pt idx="70">
                  <c:v>387</c:v>
                </c:pt>
                <c:pt idx="71">
                  <c:v>682</c:v>
                </c:pt>
                <c:pt idx="72">
                  <c:v>506</c:v>
                </c:pt>
                <c:pt idx="73">
                  <c:v>486</c:v>
                </c:pt>
                <c:pt idx="74">
                  <c:v>186</c:v>
                </c:pt>
                <c:pt idx="75">
                  <c:v>170</c:v>
                </c:pt>
                <c:pt idx="76">
                  <c:v>391</c:v>
                </c:pt>
                <c:pt idx="77">
                  <c:v>139</c:v>
                </c:pt>
                <c:pt idx="78">
                  <c:v>273</c:v>
                </c:pt>
                <c:pt idx="79">
                  <c:v>275</c:v>
                </c:pt>
                <c:pt idx="80">
                  <c:v>244</c:v>
                </c:pt>
                <c:pt idx="81">
                  <c:v>95</c:v>
                </c:pt>
                <c:pt idx="82">
                  <c:v>93</c:v>
                </c:pt>
                <c:pt idx="83">
                  <c:v>385</c:v>
                </c:pt>
                <c:pt idx="84">
                  <c:v>201</c:v>
                </c:pt>
                <c:pt idx="85">
                  <c:v>131</c:v>
                </c:pt>
                <c:pt idx="86">
                  <c:v>199</c:v>
                </c:pt>
                <c:pt idx="87">
                  <c:v>140</c:v>
                </c:pt>
                <c:pt idx="88">
                  <c:v>78</c:v>
                </c:pt>
                <c:pt idx="89">
                  <c:v>29</c:v>
                </c:pt>
                <c:pt idx="90">
                  <c:v>213</c:v>
                </c:pt>
                <c:pt idx="91">
                  <c:v>124</c:v>
                </c:pt>
                <c:pt idx="92">
                  <c:v>136</c:v>
                </c:pt>
                <c:pt idx="93">
                  <c:v>131</c:v>
                </c:pt>
                <c:pt idx="94">
                  <c:v>149</c:v>
                </c:pt>
                <c:pt idx="95">
                  <c:v>89</c:v>
                </c:pt>
                <c:pt idx="96">
                  <c:v>23</c:v>
                </c:pt>
                <c:pt idx="97">
                  <c:v>144</c:v>
                </c:pt>
                <c:pt idx="98">
                  <c:v>91</c:v>
                </c:pt>
                <c:pt idx="99">
                  <c:v>142</c:v>
                </c:pt>
                <c:pt idx="100">
                  <c:v>85</c:v>
                </c:pt>
                <c:pt idx="101">
                  <c:v>240</c:v>
                </c:pt>
                <c:pt idx="102">
                  <c:v>67</c:v>
                </c:pt>
                <c:pt idx="103">
                  <c:v>50</c:v>
                </c:pt>
                <c:pt idx="104">
                  <c:v>150</c:v>
                </c:pt>
                <c:pt idx="105">
                  <c:v>134</c:v>
                </c:pt>
                <c:pt idx="106">
                  <c:v>100</c:v>
                </c:pt>
                <c:pt idx="107">
                  <c:v>70</c:v>
                </c:pt>
                <c:pt idx="108">
                  <c:v>223</c:v>
                </c:pt>
                <c:pt idx="109">
                  <c:v>61</c:v>
                </c:pt>
                <c:pt idx="110">
                  <c:v>22</c:v>
                </c:pt>
                <c:pt idx="111">
                  <c:v>180</c:v>
                </c:pt>
                <c:pt idx="112">
                  <c:v>178</c:v>
                </c:pt>
                <c:pt idx="113">
                  <c:v>124</c:v>
                </c:pt>
                <c:pt idx="114">
                  <c:v>19</c:v>
                </c:pt>
                <c:pt idx="115">
                  <c:v>72</c:v>
                </c:pt>
                <c:pt idx="116">
                  <c:v>80</c:v>
                </c:pt>
                <c:pt idx="117">
                  <c:v>98</c:v>
                </c:pt>
                <c:pt idx="118">
                  <c:v>166</c:v>
                </c:pt>
                <c:pt idx="119">
                  <c:v>186</c:v>
                </c:pt>
                <c:pt idx="120">
                  <c:v>149</c:v>
                </c:pt>
                <c:pt idx="121">
                  <c:v>136</c:v>
                </c:pt>
                <c:pt idx="122">
                  <c:v>67</c:v>
                </c:pt>
                <c:pt idx="123">
                  <c:v>62</c:v>
                </c:pt>
                <c:pt idx="124">
                  <c:v>43</c:v>
                </c:pt>
                <c:pt idx="125">
                  <c:v>271</c:v>
                </c:pt>
                <c:pt idx="126">
                  <c:v>156</c:v>
                </c:pt>
                <c:pt idx="127">
                  <c:v>163</c:v>
                </c:pt>
                <c:pt idx="128">
                  <c:v>234</c:v>
                </c:pt>
                <c:pt idx="129">
                  <c:v>189</c:v>
                </c:pt>
                <c:pt idx="130">
                  <c:v>66</c:v>
                </c:pt>
                <c:pt idx="131">
                  <c:v>37</c:v>
                </c:pt>
                <c:pt idx="132">
                  <c:v>244</c:v>
                </c:pt>
                <c:pt idx="133">
                  <c:v>130</c:v>
                </c:pt>
                <c:pt idx="134">
                  <c:v>175</c:v>
                </c:pt>
                <c:pt idx="135">
                  <c:v>98</c:v>
                </c:pt>
                <c:pt idx="136">
                  <c:v>92</c:v>
                </c:pt>
                <c:pt idx="137">
                  <c:v>35</c:v>
                </c:pt>
                <c:pt idx="138">
                  <c:v>47</c:v>
                </c:pt>
                <c:pt idx="139">
                  <c:v>167</c:v>
                </c:pt>
                <c:pt idx="140">
                  <c:v>84</c:v>
                </c:pt>
                <c:pt idx="141">
                  <c:v>147</c:v>
                </c:pt>
                <c:pt idx="142">
                  <c:v>108</c:v>
                </c:pt>
                <c:pt idx="143">
                  <c:v>119</c:v>
                </c:pt>
                <c:pt idx="144">
                  <c:v>54</c:v>
                </c:pt>
                <c:pt idx="145">
                  <c:v>26</c:v>
                </c:pt>
                <c:pt idx="146">
                  <c:v>88</c:v>
                </c:pt>
                <c:pt idx="147">
                  <c:v>43</c:v>
                </c:pt>
                <c:pt idx="148">
                  <c:v>96</c:v>
                </c:pt>
                <c:pt idx="149">
                  <c:v>68</c:v>
                </c:pt>
                <c:pt idx="150">
                  <c:v>38</c:v>
                </c:pt>
                <c:pt idx="151">
                  <c:v>49</c:v>
                </c:pt>
                <c:pt idx="152">
                  <c:v>10</c:v>
                </c:pt>
                <c:pt idx="153">
                  <c:v>108</c:v>
                </c:pt>
                <c:pt idx="154">
                  <c:v>98</c:v>
                </c:pt>
                <c:pt idx="155">
                  <c:v>103</c:v>
                </c:pt>
                <c:pt idx="156">
                  <c:v>85</c:v>
                </c:pt>
                <c:pt idx="157">
                  <c:v>87</c:v>
                </c:pt>
                <c:pt idx="158">
                  <c:v>44</c:v>
                </c:pt>
                <c:pt idx="159">
                  <c:v>16</c:v>
                </c:pt>
                <c:pt idx="160">
                  <c:v>66</c:v>
                </c:pt>
                <c:pt idx="161">
                  <c:v>66</c:v>
                </c:pt>
                <c:pt idx="162">
                  <c:v>68</c:v>
                </c:pt>
                <c:pt idx="163">
                  <c:v>70</c:v>
                </c:pt>
                <c:pt idx="164">
                  <c:v>52</c:v>
                </c:pt>
                <c:pt idx="165">
                  <c:v>9</c:v>
                </c:pt>
                <c:pt idx="166">
                  <c:v>14</c:v>
                </c:pt>
                <c:pt idx="167">
                  <c:v>37</c:v>
                </c:pt>
                <c:pt idx="168">
                  <c:v>19</c:v>
                </c:pt>
                <c:pt idx="169">
                  <c:v>30</c:v>
                </c:pt>
                <c:pt idx="170">
                  <c:v>30</c:v>
                </c:pt>
                <c:pt idx="171">
                  <c:v>29</c:v>
                </c:pt>
                <c:pt idx="172">
                  <c:v>19</c:v>
                </c:pt>
                <c:pt idx="173">
                  <c:v>8</c:v>
                </c:pt>
                <c:pt idx="174">
                  <c:v>92</c:v>
                </c:pt>
                <c:pt idx="175">
                  <c:v>37</c:v>
                </c:pt>
                <c:pt idx="176">
                  <c:v>34</c:v>
                </c:pt>
                <c:pt idx="177">
                  <c:v>46</c:v>
                </c:pt>
                <c:pt idx="178">
                  <c:v>49</c:v>
                </c:pt>
                <c:pt idx="179">
                  <c:v>11</c:v>
                </c:pt>
                <c:pt idx="180">
                  <c:v>3</c:v>
                </c:pt>
                <c:pt idx="181">
                  <c:v>79</c:v>
                </c:pt>
                <c:pt idx="182">
                  <c:v>29</c:v>
                </c:pt>
                <c:pt idx="183">
                  <c:v>44</c:v>
                </c:pt>
                <c:pt idx="184">
                  <c:v>11</c:v>
                </c:pt>
                <c:pt idx="185">
                  <c:v>24</c:v>
                </c:pt>
                <c:pt idx="186">
                  <c:v>5</c:v>
                </c:pt>
                <c:pt idx="187">
                  <c:v>6</c:v>
                </c:pt>
                <c:pt idx="188">
                  <c:v>28</c:v>
                </c:pt>
                <c:pt idx="189">
                  <c:v>112</c:v>
                </c:pt>
                <c:pt idx="190">
                  <c:v>64</c:v>
                </c:pt>
                <c:pt idx="191">
                  <c:v>15</c:v>
                </c:pt>
                <c:pt idx="192">
                  <c:v>34</c:v>
                </c:pt>
                <c:pt idx="193">
                  <c:v>9</c:v>
                </c:pt>
                <c:pt idx="194">
                  <c:v>7</c:v>
                </c:pt>
                <c:pt idx="195">
                  <c:v>32</c:v>
                </c:pt>
                <c:pt idx="196">
                  <c:v>22</c:v>
                </c:pt>
                <c:pt idx="197">
                  <c:v>12</c:v>
                </c:pt>
                <c:pt idx="198">
                  <c:v>37</c:v>
                </c:pt>
                <c:pt idx="199">
                  <c:v>18</c:v>
                </c:pt>
                <c:pt idx="200">
                  <c:v>10</c:v>
                </c:pt>
                <c:pt idx="201">
                  <c:v>4</c:v>
                </c:pt>
                <c:pt idx="202">
                  <c:v>13</c:v>
                </c:pt>
                <c:pt idx="203">
                  <c:v>31</c:v>
                </c:pt>
                <c:pt idx="204">
                  <c:v>22</c:v>
                </c:pt>
                <c:pt idx="205">
                  <c:v>32</c:v>
                </c:pt>
                <c:pt idx="206">
                  <c:v>7</c:v>
                </c:pt>
                <c:pt idx="207">
                  <c:v>3</c:v>
                </c:pt>
                <c:pt idx="208">
                  <c:v>4</c:v>
                </c:pt>
                <c:pt idx="209">
                  <c:v>22</c:v>
                </c:pt>
                <c:pt idx="210">
                  <c:v>13</c:v>
                </c:pt>
                <c:pt idx="211">
                  <c:v>11</c:v>
                </c:pt>
                <c:pt idx="212">
                  <c:v>11</c:v>
                </c:pt>
                <c:pt idx="213">
                  <c:v>4</c:v>
                </c:pt>
                <c:pt idx="214">
                  <c:v>4</c:v>
                </c:pt>
                <c:pt idx="215">
                  <c:v>2</c:v>
                </c:pt>
                <c:pt idx="216">
                  <c:v>1</c:v>
                </c:pt>
                <c:pt idx="217">
                  <c:v>5</c:v>
                </c:pt>
                <c:pt idx="218">
                  <c:v>19</c:v>
                </c:pt>
                <c:pt idx="219">
                  <c:v>2</c:v>
                </c:pt>
                <c:pt idx="220">
                  <c:v>3</c:v>
                </c:pt>
                <c:pt idx="221">
                  <c:v>1</c:v>
                </c:pt>
                <c:pt idx="222">
                  <c:v>0</c:v>
                </c:pt>
                <c:pt idx="223">
                  <c:v>2</c:v>
                </c:pt>
                <c:pt idx="224">
                  <c:v>3</c:v>
                </c:pt>
                <c:pt idx="225">
                  <c:v>4</c:v>
                </c:pt>
                <c:pt idx="226">
                  <c:v>4</c:v>
                </c:pt>
                <c:pt idx="227">
                  <c:v>1</c:v>
                </c:pt>
                <c:pt idx="228">
                  <c:v>1</c:v>
                </c:pt>
                <c:pt idx="229">
                  <c:v>2</c:v>
                </c:pt>
                <c:pt idx="230">
                  <c:v>6</c:v>
                </c:pt>
                <c:pt idx="231">
                  <c:v>5</c:v>
                </c:pt>
                <c:pt idx="232">
                  <c:v>3</c:v>
                </c:pt>
                <c:pt idx="233">
                  <c:v>19</c:v>
                </c:pt>
                <c:pt idx="234">
                  <c:v>8</c:v>
                </c:pt>
                <c:pt idx="235">
                  <c:v>1</c:v>
                </c:pt>
                <c:pt idx="236">
                  <c:v>0</c:v>
                </c:pt>
                <c:pt idx="237">
                  <c:v>2</c:v>
                </c:pt>
                <c:pt idx="238">
                  <c:v>4</c:v>
                </c:pt>
                <c:pt idx="239">
                  <c:v>1</c:v>
                </c:pt>
                <c:pt idx="240">
                  <c:v>2</c:v>
                </c:pt>
                <c:pt idx="241">
                  <c:v>1</c:v>
                </c:pt>
                <c:pt idx="242">
                  <c:v>0</c:v>
                </c:pt>
                <c:pt idx="243">
                  <c:v>0</c:v>
                </c:pt>
                <c:pt idx="244">
                  <c:v>2</c:v>
                </c:pt>
                <c:pt idx="245">
                  <c:v>0</c:v>
                </c:pt>
                <c:pt idx="246">
                  <c:v>3</c:v>
                </c:pt>
                <c:pt idx="247">
                  <c:v>1</c:v>
                </c:pt>
                <c:pt idx="248">
                  <c:v>2</c:v>
                </c:pt>
                <c:pt idx="249">
                  <c:v>0</c:v>
                </c:pt>
                <c:pt idx="250">
                  <c:v>3</c:v>
                </c:pt>
                <c:pt idx="251">
                  <c:v>5</c:v>
                </c:pt>
                <c:pt idx="252">
                  <c:v>2</c:v>
                </c:pt>
                <c:pt idx="253">
                  <c:v>0</c:v>
                </c:pt>
                <c:pt idx="254">
                  <c:v>3</c:v>
                </c:pt>
                <c:pt idx="255">
                  <c:v>5</c:v>
                </c:pt>
                <c:pt idx="256">
                  <c:v>1</c:v>
                </c:pt>
                <c:pt idx="257">
                  <c:v>0</c:v>
                </c:pt>
                <c:pt idx="258">
                  <c:v>3</c:v>
                </c:pt>
                <c:pt idx="259">
                  <c:v>0</c:v>
                </c:pt>
                <c:pt idx="260">
                  <c:v>2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2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1</c:v>
                </c:pt>
                <c:pt idx="273">
                  <c:v>0</c:v>
                </c:pt>
                <c:pt idx="274">
                  <c:v>3</c:v>
                </c:pt>
                <c:pt idx="275">
                  <c:v>1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1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1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1</c:v>
                </c:pt>
                <c:pt idx="307">
                  <c:v>0</c:v>
                </c:pt>
                <c:pt idx="308">
                  <c:v>1</c:v>
                </c:pt>
                <c:pt idx="309">
                  <c:v>0</c:v>
                </c:pt>
                <c:pt idx="310">
                  <c:v>1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1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1</c:v>
                </c:pt>
                <c:pt idx="350">
                  <c:v>1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2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1</c:v>
                </c:pt>
                <c:pt idx="366">
                  <c:v>4</c:v>
                </c:pt>
                <c:pt idx="367">
                  <c:v>2</c:v>
                </c:pt>
                <c:pt idx="368">
                  <c:v>1</c:v>
                </c:pt>
                <c:pt idx="369">
                  <c:v>0</c:v>
                </c:pt>
                <c:pt idx="370">
                  <c:v>4</c:v>
                </c:pt>
                <c:pt idx="371">
                  <c:v>0</c:v>
                </c:pt>
                <c:pt idx="372">
                  <c:v>0</c:v>
                </c:pt>
                <c:pt idx="373">
                  <c:v>1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1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1</c:v>
                </c:pt>
                <c:pt idx="385">
                  <c:v>4</c:v>
                </c:pt>
                <c:pt idx="386">
                  <c:v>1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2</c:v>
                </c:pt>
                <c:pt idx="392">
                  <c:v>0</c:v>
                </c:pt>
                <c:pt idx="393">
                  <c:v>1</c:v>
                </c:pt>
                <c:pt idx="394">
                  <c:v>0</c:v>
                </c:pt>
                <c:pt idx="395">
                  <c:v>1</c:v>
                </c:pt>
                <c:pt idx="396">
                  <c:v>1</c:v>
                </c:pt>
                <c:pt idx="397">
                  <c:v>1</c:v>
                </c:pt>
                <c:pt idx="398">
                  <c:v>2</c:v>
                </c:pt>
                <c:pt idx="399">
                  <c:v>2</c:v>
                </c:pt>
                <c:pt idx="400">
                  <c:v>11</c:v>
                </c:pt>
                <c:pt idx="401">
                  <c:v>2</c:v>
                </c:pt>
                <c:pt idx="402">
                  <c:v>25</c:v>
                </c:pt>
                <c:pt idx="403">
                  <c:v>1</c:v>
                </c:pt>
                <c:pt idx="404">
                  <c:v>0</c:v>
                </c:pt>
                <c:pt idx="405">
                  <c:v>1</c:v>
                </c:pt>
                <c:pt idx="406">
                  <c:v>1</c:v>
                </c:pt>
                <c:pt idx="407">
                  <c:v>20</c:v>
                </c:pt>
                <c:pt idx="408">
                  <c:v>3</c:v>
                </c:pt>
                <c:pt idx="409">
                  <c:v>2</c:v>
                </c:pt>
                <c:pt idx="410">
                  <c:v>0</c:v>
                </c:pt>
                <c:pt idx="411">
                  <c:v>0</c:v>
                </c:pt>
                <c:pt idx="412">
                  <c:v>6</c:v>
                </c:pt>
                <c:pt idx="413">
                  <c:v>5</c:v>
                </c:pt>
                <c:pt idx="414">
                  <c:v>4</c:v>
                </c:pt>
                <c:pt idx="415">
                  <c:v>2</c:v>
                </c:pt>
                <c:pt idx="416">
                  <c:v>5</c:v>
                </c:pt>
                <c:pt idx="417">
                  <c:v>1</c:v>
                </c:pt>
                <c:pt idx="418">
                  <c:v>1</c:v>
                </c:pt>
                <c:pt idx="419">
                  <c:v>14</c:v>
                </c:pt>
                <c:pt idx="420">
                  <c:v>9</c:v>
                </c:pt>
                <c:pt idx="421">
                  <c:v>11</c:v>
                </c:pt>
                <c:pt idx="422">
                  <c:v>0</c:v>
                </c:pt>
                <c:pt idx="423">
                  <c:v>18</c:v>
                </c:pt>
                <c:pt idx="424">
                  <c:v>7</c:v>
                </c:pt>
                <c:pt idx="425">
                  <c:v>11</c:v>
                </c:pt>
                <c:pt idx="426">
                  <c:v>35</c:v>
                </c:pt>
                <c:pt idx="427">
                  <c:v>15</c:v>
                </c:pt>
                <c:pt idx="428">
                  <c:v>16</c:v>
                </c:pt>
                <c:pt idx="429">
                  <c:v>53</c:v>
                </c:pt>
                <c:pt idx="430">
                  <c:v>23</c:v>
                </c:pt>
                <c:pt idx="431">
                  <c:v>6</c:v>
                </c:pt>
                <c:pt idx="432">
                  <c:v>5</c:v>
                </c:pt>
                <c:pt idx="433">
                  <c:v>30</c:v>
                </c:pt>
                <c:pt idx="434">
                  <c:v>30</c:v>
                </c:pt>
                <c:pt idx="435">
                  <c:v>16</c:v>
                </c:pt>
                <c:pt idx="436">
                  <c:v>19</c:v>
                </c:pt>
                <c:pt idx="437">
                  <c:v>17</c:v>
                </c:pt>
                <c:pt idx="438">
                  <c:v>13</c:v>
                </c:pt>
                <c:pt idx="439">
                  <c:v>15</c:v>
                </c:pt>
                <c:pt idx="440">
                  <c:v>43</c:v>
                </c:pt>
                <c:pt idx="441">
                  <c:v>32</c:v>
                </c:pt>
                <c:pt idx="442">
                  <c:v>25</c:v>
                </c:pt>
                <c:pt idx="443">
                  <c:v>56</c:v>
                </c:pt>
                <c:pt idx="444">
                  <c:v>85</c:v>
                </c:pt>
                <c:pt idx="445">
                  <c:v>26</c:v>
                </c:pt>
                <c:pt idx="446">
                  <c:v>9</c:v>
                </c:pt>
                <c:pt idx="447">
                  <c:v>50</c:v>
                </c:pt>
                <c:pt idx="448">
                  <c:v>24</c:v>
                </c:pt>
                <c:pt idx="449">
                  <c:v>42</c:v>
                </c:pt>
                <c:pt idx="450">
                  <c:v>29</c:v>
                </c:pt>
                <c:pt idx="451">
                  <c:v>53</c:v>
                </c:pt>
                <c:pt idx="452">
                  <c:v>5</c:v>
                </c:pt>
                <c:pt idx="453">
                  <c:v>7</c:v>
                </c:pt>
                <c:pt idx="454">
                  <c:v>44</c:v>
                </c:pt>
                <c:pt idx="455">
                  <c:v>15</c:v>
                </c:pt>
                <c:pt idx="456">
                  <c:v>31</c:v>
                </c:pt>
                <c:pt idx="457">
                  <c:v>31</c:v>
                </c:pt>
                <c:pt idx="458">
                  <c:v>14</c:v>
                </c:pt>
                <c:pt idx="459">
                  <c:v>38</c:v>
                </c:pt>
                <c:pt idx="460">
                  <c:v>7</c:v>
                </c:pt>
                <c:pt idx="461">
                  <c:v>31</c:v>
                </c:pt>
                <c:pt idx="462">
                  <c:v>22</c:v>
                </c:pt>
                <c:pt idx="463">
                  <c:v>18</c:v>
                </c:pt>
                <c:pt idx="464">
                  <c:v>31</c:v>
                </c:pt>
                <c:pt idx="465">
                  <c:v>30</c:v>
                </c:pt>
                <c:pt idx="466">
                  <c:v>6</c:v>
                </c:pt>
                <c:pt idx="467">
                  <c:v>1</c:v>
                </c:pt>
                <c:pt idx="468">
                  <c:v>18</c:v>
                </c:pt>
                <c:pt idx="469">
                  <c:v>27</c:v>
                </c:pt>
                <c:pt idx="470">
                  <c:v>17</c:v>
                </c:pt>
                <c:pt idx="471">
                  <c:v>7</c:v>
                </c:pt>
                <c:pt idx="472">
                  <c:v>12</c:v>
                </c:pt>
                <c:pt idx="473">
                  <c:v>2</c:v>
                </c:pt>
                <c:pt idx="474">
                  <c:v>3</c:v>
                </c:pt>
                <c:pt idx="475">
                  <c:v>16</c:v>
                </c:pt>
                <c:pt idx="476">
                  <c:v>8</c:v>
                </c:pt>
                <c:pt idx="477">
                  <c:v>3</c:v>
                </c:pt>
                <c:pt idx="478">
                  <c:v>5</c:v>
                </c:pt>
                <c:pt idx="479">
                  <c:v>1</c:v>
                </c:pt>
                <c:pt idx="480">
                  <c:v>5</c:v>
                </c:pt>
                <c:pt idx="481">
                  <c:v>0</c:v>
                </c:pt>
                <c:pt idx="482">
                  <c:v>10</c:v>
                </c:pt>
                <c:pt idx="483">
                  <c:v>6</c:v>
                </c:pt>
                <c:pt idx="484">
                  <c:v>6</c:v>
                </c:pt>
                <c:pt idx="485">
                  <c:v>2</c:v>
                </c:pt>
                <c:pt idx="486">
                  <c:v>10</c:v>
                </c:pt>
                <c:pt idx="487">
                  <c:v>3</c:v>
                </c:pt>
                <c:pt idx="488">
                  <c:v>0</c:v>
                </c:pt>
                <c:pt idx="489">
                  <c:v>4</c:v>
                </c:pt>
                <c:pt idx="490">
                  <c:v>6</c:v>
                </c:pt>
                <c:pt idx="491">
                  <c:v>7</c:v>
                </c:pt>
                <c:pt idx="492">
                  <c:v>7</c:v>
                </c:pt>
                <c:pt idx="493">
                  <c:v>6</c:v>
                </c:pt>
                <c:pt idx="494">
                  <c:v>1</c:v>
                </c:pt>
                <c:pt idx="495">
                  <c:v>2</c:v>
                </c:pt>
                <c:pt idx="496">
                  <c:v>1</c:v>
                </c:pt>
                <c:pt idx="497">
                  <c:v>8</c:v>
                </c:pt>
                <c:pt idx="498">
                  <c:v>4</c:v>
                </c:pt>
                <c:pt idx="499">
                  <c:v>3</c:v>
                </c:pt>
                <c:pt idx="500">
                  <c:v>8</c:v>
                </c:pt>
                <c:pt idx="501">
                  <c:v>1</c:v>
                </c:pt>
                <c:pt idx="502">
                  <c:v>4</c:v>
                </c:pt>
                <c:pt idx="503">
                  <c:v>21</c:v>
                </c:pt>
                <c:pt idx="504">
                  <c:v>13</c:v>
                </c:pt>
                <c:pt idx="505">
                  <c:v>11</c:v>
                </c:pt>
                <c:pt idx="506">
                  <c:v>22</c:v>
                </c:pt>
                <c:pt idx="507">
                  <c:v>16</c:v>
                </c:pt>
                <c:pt idx="508">
                  <c:v>32</c:v>
                </c:pt>
                <c:pt idx="509">
                  <c:v>6</c:v>
                </c:pt>
                <c:pt idx="510">
                  <c:v>45</c:v>
                </c:pt>
                <c:pt idx="511">
                  <c:v>41</c:v>
                </c:pt>
                <c:pt idx="512">
                  <c:v>39</c:v>
                </c:pt>
                <c:pt idx="513">
                  <c:v>25</c:v>
                </c:pt>
                <c:pt idx="514">
                  <c:v>48</c:v>
                </c:pt>
                <c:pt idx="515">
                  <c:v>4</c:v>
                </c:pt>
                <c:pt idx="516">
                  <c:v>6</c:v>
                </c:pt>
                <c:pt idx="517">
                  <c:v>42</c:v>
                </c:pt>
                <c:pt idx="518">
                  <c:v>53</c:v>
                </c:pt>
                <c:pt idx="519">
                  <c:v>33</c:v>
                </c:pt>
                <c:pt idx="520">
                  <c:v>21</c:v>
                </c:pt>
                <c:pt idx="521">
                  <c:v>57</c:v>
                </c:pt>
                <c:pt idx="522">
                  <c:v>20</c:v>
                </c:pt>
                <c:pt idx="523">
                  <c:v>15</c:v>
                </c:pt>
                <c:pt idx="524">
                  <c:v>88</c:v>
                </c:pt>
                <c:pt idx="525">
                  <c:v>51</c:v>
                </c:pt>
                <c:pt idx="526">
                  <c:v>29</c:v>
                </c:pt>
                <c:pt idx="527">
                  <c:v>40</c:v>
                </c:pt>
                <c:pt idx="528">
                  <c:v>65</c:v>
                </c:pt>
                <c:pt idx="529">
                  <c:v>20</c:v>
                </c:pt>
                <c:pt idx="530">
                  <c:v>16</c:v>
                </c:pt>
                <c:pt idx="531">
                  <c:v>62</c:v>
                </c:pt>
                <c:pt idx="532">
                  <c:v>54</c:v>
                </c:pt>
                <c:pt idx="533">
                  <c:v>50</c:v>
                </c:pt>
                <c:pt idx="534">
                  <c:v>81</c:v>
                </c:pt>
                <c:pt idx="535">
                  <c:v>38</c:v>
                </c:pt>
                <c:pt idx="536">
                  <c:v>8</c:v>
                </c:pt>
                <c:pt idx="537">
                  <c:v>13</c:v>
                </c:pt>
                <c:pt idx="538">
                  <c:v>38</c:v>
                </c:pt>
                <c:pt idx="539">
                  <c:v>61</c:v>
                </c:pt>
                <c:pt idx="540">
                  <c:v>47</c:v>
                </c:pt>
                <c:pt idx="541">
                  <c:v>22</c:v>
                </c:pt>
                <c:pt idx="542">
                  <c:v>39</c:v>
                </c:pt>
                <c:pt idx="543">
                  <c:v>10</c:v>
                </c:pt>
                <c:pt idx="544">
                  <c:v>5</c:v>
                </c:pt>
                <c:pt idx="545">
                  <c:v>40</c:v>
                </c:pt>
                <c:pt idx="546">
                  <c:v>25</c:v>
                </c:pt>
                <c:pt idx="547">
                  <c:v>32</c:v>
                </c:pt>
                <c:pt idx="548">
                  <c:v>19</c:v>
                </c:pt>
                <c:pt idx="549">
                  <c:v>18</c:v>
                </c:pt>
                <c:pt idx="550">
                  <c:v>4</c:v>
                </c:pt>
                <c:pt idx="551">
                  <c:v>6</c:v>
                </c:pt>
                <c:pt idx="552">
                  <c:v>26</c:v>
                </c:pt>
                <c:pt idx="553">
                  <c:v>60</c:v>
                </c:pt>
                <c:pt idx="554">
                  <c:v>29</c:v>
                </c:pt>
                <c:pt idx="555">
                  <c:v>19</c:v>
                </c:pt>
                <c:pt idx="556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Počet nákaz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7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X$1</c:f>
              <c:strCache>
                <c:ptCount val="23"/>
                <c:pt idx="0">
                  <c:v>05/2020</c:v>
                </c:pt>
                <c:pt idx="1">
                  <c:v>06/2020</c:v>
                </c:pt>
                <c:pt idx="2">
                  <c:v>07/2020</c:v>
                </c:pt>
                <c:pt idx="3">
                  <c:v>08/2020</c:v>
                </c:pt>
                <c:pt idx="4">
                  <c:v>09/2020</c:v>
                </c:pt>
                <c:pt idx="5">
                  <c:v>10/2020</c:v>
                </c:pt>
                <c:pt idx="6">
                  <c:v>11/2020</c:v>
                </c:pt>
                <c:pt idx="7">
                  <c:v>12/2020</c:v>
                </c:pt>
                <c:pt idx="8">
                  <c:v>01/2021</c:v>
                </c:pt>
                <c:pt idx="9">
                  <c:v>02/2021</c:v>
                </c:pt>
                <c:pt idx="10">
                  <c:v>03/2021</c:v>
                </c:pt>
                <c:pt idx="11">
                  <c:v>04/2021</c:v>
                </c:pt>
                <c:pt idx="12">
                  <c:v>05/2021</c:v>
                </c:pt>
                <c:pt idx="13">
                  <c:v>06/2021</c:v>
                </c:pt>
                <c:pt idx="14">
                  <c:v>07/2021</c:v>
                </c:pt>
                <c:pt idx="15">
                  <c:v>08/2021</c:v>
                </c:pt>
                <c:pt idx="16">
                  <c:v>09/2021</c:v>
                </c:pt>
                <c:pt idx="17">
                  <c:v>10/2021</c:v>
                </c:pt>
                <c:pt idx="18">
                  <c:v>11/2021</c:v>
                </c:pt>
                <c:pt idx="19">
                  <c:v>12/2021</c:v>
                </c:pt>
                <c:pt idx="20">
                  <c:v>01/2022</c:v>
                </c:pt>
                <c:pt idx="21">
                  <c:v>02/2022</c:v>
                </c:pt>
                <c:pt idx="22">
                  <c:v>03/2022</c:v>
                </c:pt>
              </c:strCache>
            </c:strRef>
          </c:cat>
          <c:val>
            <c:numRef>
              <c:f>List1!$B$2:$X$2</c:f>
              <c:numCache>
                <c:formatCode>General</c:formatCode>
                <c:ptCount val="23"/>
                <c:pt idx="0">
                  <c:v>110</c:v>
                </c:pt>
                <c:pt idx="1">
                  <c:v>84</c:v>
                </c:pt>
                <c:pt idx="2">
                  <c:v>112</c:v>
                </c:pt>
                <c:pt idx="3">
                  <c:v>240</c:v>
                </c:pt>
                <c:pt idx="4">
                  <c:v>1126</c:v>
                </c:pt>
                <c:pt idx="5">
                  <c:v>9694</c:v>
                </c:pt>
                <c:pt idx="6">
                  <c:v>8383</c:v>
                </c:pt>
                <c:pt idx="7">
                  <c:v>4588</c:v>
                </c:pt>
                <c:pt idx="8">
                  <c:v>3340</c:v>
                </c:pt>
                <c:pt idx="9">
                  <c:v>1800</c:v>
                </c:pt>
                <c:pt idx="10">
                  <c:v>968</c:v>
                </c:pt>
                <c:pt idx="11">
                  <c:v>135</c:v>
                </c:pt>
                <c:pt idx="12">
                  <c:v>23</c:v>
                </c:pt>
                <c:pt idx="13">
                  <c:v>7</c:v>
                </c:pt>
                <c:pt idx="14">
                  <c:v>8</c:v>
                </c:pt>
                <c:pt idx="15">
                  <c:v>10</c:v>
                </c:pt>
                <c:pt idx="16">
                  <c:v>93</c:v>
                </c:pt>
                <c:pt idx="17">
                  <c:v>182</c:v>
                </c:pt>
                <c:pt idx="18">
                  <c:v>645</c:v>
                </c:pt>
                <c:pt idx="19">
                  <c:v>592</c:v>
                </c:pt>
                <c:pt idx="20">
                  <c:v>718</c:v>
                </c:pt>
                <c:pt idx="21">
                  <c:v>1832</c:v>
                </c:pt>
                <c:pt idx="22">
                  <c:v>2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23-4197-8781-6EB6A238FF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personal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58</c:f>
              <c:numCache>
                <c:formatCode>m/d/yyyy</c:formatCode>
                <c:ptCount val="55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</c:numCache>
            </c:numRef>
          </c:cat>
          <c:val>
            <c:numRef>
              <c:f>Sheet1!$B$2:$B$558</c:f>
              <c:numCache>
                <c:formatCode>#\ ##0_ ;\-#\ ##0\ </c:formatCode>
                <c:ptCount val="557"/>
                <c:pt idx="0">
                  <c:v>3</c:v>
                </c:pt>
                <c:pt idx="1">
                  <c:v>0</c:v>
                </c:pt>
                <c:pt idx="2">
                  <c:v>0</c:v>
                </c:pt>
                <c:pt idx="3">
                  <c:v>4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2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0</c:v>
                </c:pt>
                <c:pt idx="13">
                  <c:v>4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4</c:v>
                </c:pt>
                <c:pt idx="20">
                  <c:v>5</c:v>
                </c:pt>
                <c:pt idx="21">
                  <c:v>7</c:v>
                </c:pt>
                <c:pt idx="22">
                  <c:v>1</c:v>
                </c:pt>
                <c:pt idx="23">
                  <c:v>4</c:v>
                </c:pt>
                <c:pt idx="24">
                  <c:v>12</c:v>
                </c:pt>
                <c:pt idx="25">
                  <c:v>7</c:v>
                </c:pt>
                <c:pt idx="26">
                  <c:v>2</c:v>
                </c:pt>
                <c:pt idx="27">
                  <c:v>6</c:v>
                </c:pt>
                <c:pt idx="28">
                  <c:v>26</c:v>
                </c:pt>
                <c:pt idx="29">
                  <c:v>10</c:v>
                </c:pt>
                <c:pt idx="30">
                  <c:v>30</c:v>
                </c:pt>
                <c:pt idx="31">
                  <c:v>98</c:v>
                </c:pt>
                <c:pt idx="32">
                  <c:v>33</c:v>
                </c:pt>
                <c:pt idx="33">
                  <c:v>32</c:v>
                </c:pt>
                <c:pt idx="34">
                  <c:v>100</c:v>
                </c:pt>
                <c:pt idx="35">
                  <c:v>51</c:v>
                </c:pt>
                <c:pt idx="36">
                  <c:v>43</c:v>
                </c:pt>
                <c:pt idx="37">
                  <c:v>88</c:v>
                </c:pt>
                <c:pt idx="38">
                  <c:v>93</c:v>
                </c:pt>
                <c:pt idx="39">
                  <c:v>51</c:v>
                </c:pt>
                <c:pt idx="40">
                  <c:v>26</c:v>
                </c:pt>
                <c:pt idx="41">
                  <c:v>178</c:v>
                </c:pt>
                <c:pt idx="42">
                  <c:v>163</c:v>
                </c:pt>
                <c:pt idx="43">
                  <c:v>199</c:v>
                </c:pt>
                <c:pt idx="44">
                  <c:v>213</c:v>
                </c:pt>
                <c:pt idx="45">
                  <c:v>217</c:v>
                </c:pt>
                <c:pt idx="46">
                  <c:v>108</c:v>
                </c:pt>
                <c:pt idx="47">
                  <c:v>50</c:v>
                </c:pt>
                <c:pt idx="48">
                  <c:v>205</c:v>
                </c:pt>
                <c:pt idx="49">
                  <c:v>203</c:v>
                </c:pt>
                <c:pt idx="50">
                  <c:v>274</c:v>
                </c:pt>
                <c:pt idx="51">
                  <c:v>242</c:v>
                </c:pt>
                <c:pt idx="52">
                  <c:v>348</c:v>
                </c:pt>
                <c:pt idx="53">
                  <c:v>190</c:v>
                </c:pt>
                <c:pt idx="54">
                  <c:v>91</c:v>
                </c:pt>
                <c:pt idx="55">
                  <c:v>387</c:v>
                </c:pt>
                <c:pt idx="56">
                  <c:v>423</c:v>
                </c:pt>
                <c:pt idx="57">
                  <c:v>139</c:v>
                </c:pt>
                <c:pt idx="58">
                  <c:v>487</c:v>
                </c:pt>
                <c:pt idx="59">
                  <c:v>348</c:v>
                </c:pt>
                <c:pt idx="60">
                  <c:v>187</c:v>
                </c:pt>
                <c:pt idx="61">
                  <c:v>121</c:v>
                </c:pt>
                <c:pt idx="62">
                  <c:v>318</c:v>
                </c:pt>
                <c:pt idx="63">
                  <c:v>245</c:v>
                </c:pt>
                <c:pt idx="64">
                  <c:v>346</c:v>
                </c:pt>
                <c:pt idx="65">
                  <c:v>294</c:v>
                </c:pt>
                <c:pt idx="66">
                  <c:v>248</c:v>
                </c:pt>
                <c:pt idx="67">
                  <c:v>122</c:v>
                </c:pt>
                <c:pt idx="68">
                  <c:v>51</c:v>
                </c:pt>
                <c:pt idx="69">
                  <c:v>208</c:v>
                </c:pt>
                <c:pt idx="70">
                  <c:v>213</c:v>
                </c:pt>
                <c:pt idx="71">
                  <c:v>277</c:v>
                </c:pt>
                <c:pt idx="72">
                  <c:v>248</c:v>
                </c:pt>
                <c:pt idx="73">
                  <c:v>211</c:v>
                </c:pt>
                <c:pt idx="74">
                  <c:v>78</c:v>
                </c:pt>
                <c:pt idx="75">
                  <c:v>34</c:v>
                </c:pt>
                <c:pt idx="76">
                  <c:v>201</c:v>
                </c:pt>
                <c:pt idx="77">
                  <c:v>53</c:v>
                </c:pt>
                <c:pt idx="78">
                  <c:v>169</c:v>
                </c:pt>
                <c:pt idx="79">
                  <c:v>139</c:v>
                </c:pt>
                <c:pt idx="80">
                  <c:v>128</c:v>
                </c:pt>
                <c:pt idx="81">
                  <c:v>41</c:v>
                </c:pt>
                <c:pt idx="82">
                  <c:v>20</c:v>
                </c:pt>
                <c:pt idx="83">
                  <c:v>152</c:v>
                </c:pt>
                <c:pt idx="84">
                  <c:v>112</c:v>
                </c:pt>
                <c:pt idx="85">
                  <c:v>98</c:v>
                </c:pt>
                <c:pt idx="86">
                  <c:v>60</c:v>
                </c:pt>
                <c:pt idx="87">
                  <c:v>84</c:v>
                </c:pt>
                <c:pt idx="88">
                  <c:v>23</c:v>
                </c:pt>
                <c:pt idx="89">
                  <c:v>16</c:v>
                </c:pt>
                <c:pt idx="90">
                  <c:v>115</c:v>
                </c:pt>
                <c:pt idx="91">
                  <c:v>92</c:v>
                </c:pt>
                <c:pt idx="92">
                  <c:v>75</c:v>
                </c:pt>
                <c:pt idx="93">
                  <c:v>64</c:v>
                </c:pt>
                <c:pt idx="94">
                  <c:v>93</c:v>
                </c:pt>
                <c:pt idx="95">
                  <c:v>42</c:v>
                </c:pt>
                <c:pt idx="96">
                  <c:v>28</c:v>
                </c:pt>
                <c:pt idx="97">
                  <c:v>122</c:v>
                </c:pt>
                <c:pt idx="98">
                  <c:v>80</c:v>
                </c:pt>
                <c:pt idx="99">
                  <c:v>66</c:v>
                </c:pt>
                <c:pt idx="100">
                  <c:v>63</c:v>
                </c:pt>
                <c:pt idx="101">
                  <c:v>80</c:v>
                </c:pt>
                <c:pt idx="102">
                  <c:v>21</c:v>
                </c:pt>
                <c:pt idx="103">
                  <c:v>18</c:v>
                </c:pt>
                <c:pt idx="104">
                  <c:v>142</c:v>
                </c:pt>
                <c:pt idx="105">
                  <c:v>73</c:v>
                </c:pt>
                <c:pt idx="106">
                  <c:v>98</c:v>
                </c:pt>
                <c:pt idx="107">
                  <c:v>56</c:v>
                </c:pt>
                <c:pt idx="108">
                  <c:v>89</c:v>
                </c:pt>
                <c:pt idx="109">
                  <c:v>32</c:v>
                </c:pt>
                <c:pt idx="110">
                  <c:v>29</c:v>
                </c:pt>
                <c:pt idx="111">
                  <c:v>168</c:v>
                </c:pt>
                <c:pt idx="112">
                  <c:v>118</c:v>
                </c:pt>
                <c:pt idx="113">
                  <c:v>130</c:v>
                </c:pt>
                <c:pt idx="114">
                  <c:v>32</c:v>
                </c:pt>
                <c:pt idx="115">
                  <c:v>51</c:v>
                </c:pt>
                <c:pt idx="116">
                  <c:v>54</c:v>
                </c:pt>
                <c:pt idx="117">
                  <c:v>49</c:v>
                </c:pt>
                <c:pt idx="118">
                  <c:v>198</c:v>
                </c:pt>
                <c:pt idx="119">
                  <c:v>152</c:v>
                </c:pt>
                <c:pt idx="120">
                  <c:v>115</c:v>
                </c:pt>
                <c:pt idx="121">
                  <c:v>94</c:v>
                </c:pt>
                <c:pt idx="122">
                  <c:v>35</c:v>
                </c:pt>
                <c:pt idx="123">
                  <c:v>67</c:v>
                </c:pt>
                <c:pt idx="124">
                  <c:v>40</c:v>
                </c:pt>
                <c:pt idx="125">
                  <c:v>306</c:v>
                </c:pt>
                <c:pt idx="126">
                  <c:v>151</c:v>
                </c:pt>
                <c:pt idx="127">
                  <c:v>123</c:v>
                </c:pt>
                <c:pt idx="128">
                  <c:v>110</c:v>
                </c:pt>
                <c:pt idx="129">
                  <c:v>135</c:v>
                </c:pt>
                <c:pt idx="130">
                  <c:v>60</c:v>
                </c:pt>
                <c:pt idx="131">
                  <c:v>27</c:v>
                </c:pt>
                <c:pt idx="132">
                  <c:v>248</c:v>
                </c:pt>
                <c:pt idx="133">
                  <c:v>101</c:v>
                </c:pt>
                <c:pt idx="134">
                  <c:v>113</c:v>
                </c:pt>
                <c:pt idx="135">
                  <c:v>59</c:v>
                </c:pt>
                <c:pt idx="136">
                  <c:v>71</c:v>
                </c:pt>
                <c:pt idx="137">
                  <c:v>36</c:v>
                </c:pt>
                <c:pt idx="138">
                  <c:v>29</c:v>
                </c:pt>
                <c:pt idx="139">
                  <c:v>134</c:v>
                </c:pt>
                <c:pt idx="140">
                  <c:v>77</c:v>
                </c:pt>
                <c:pt idx="141">
                  <c:v>73</c:v>
                </c:pt>
                <c:pt idx="142">
                  <c:v>70</c:v>
                </c:pt>
                <c:pt idx="143">
                  <c:v>83</c:v>
                </c:pt>
                <c:pt idx="144">
                  <c:v>28</c:v>
                </c:pt>
                <c:pt idx="145">
                  <c:v>14</c:v>
                </c:pt>
                <c:pt idx="146">
                  <c:v>92</c:v>
                </c:pt>
                <c:pt idx="147">
                  <c:v>79</c:v>
                </c:pt>
                <c:pt idx="148">
                  <c:v>60</c:v>
                </c:pt>
                <c:pt idx="149">
                  <c:v>36</c:v>
                </c:pt>
                <c:pt idx="150">
                  <c:v>51</c:v>
                </c:pt>
                <c:pt idx="151">
                  <c:v>31</c:v>
                </c:pt>
                <c:pt idx="152">
                  <c:v>16</c:v>
                </c:pt>
                <c:pt idx="153">
                  <c:v>84</c:v>
                </c:pt>
                <c:pt idx="154">
                  <c:v>77</c:v>
                </c:pt>
                <c:pt idx="155">
                  <c:v>61</c:v>
                </c:pt>
                <c:pt idx="156">
                  <c:v>47</c:v>
                </c:pt>
                <c:pt idx="157">
                  <c:v>54</c:v>
                </c:pt>
                <c:pt idx="158">
                  <c:v>14</c:v>
                </c:pt>
                <c:pt idx="159">
                  <c:v>18</c:v>
                </c:pt>
                <c:pt idx="160">
                  <c:v>76</c:v>
                </c:pt>
                <c:pt idx="161">
                  <c:v>22</c:v>
                </c:pt>
                <c:pt idx="162">
                  <c:v>34</c:v>
                </c:pt>
                <c:pt idx="163">
                  <c:v>42</c:v>
                </c:pt>
                <c:pt idx="164">
                  <c:v>40</c:v>
                </c:pt>
                <c:pt idx="165">
                  <c:v>15</c:v>
                </c:pt>
                <c:pt idx="166">
                  <c:v>19</c:v>
                </c:pt>
                <c:pt idx="167">
                  <c:v>68</c:v>
                </c:pt>
                <c:pt idx="168">
                  <c:v>34</c:v>
                </c:pt>
                <c:pt idx="169">
                  <c:v>37</c:v>
                </c:pt>
                <c:pt idx="170">
                  <c:v>35</c:v>
                </c:pt>
                <c:pt idx="171">
                  <c:v>43</c:v>
                </c:pt>
                <c:pt idx="172">
                  <c:v>8</c:v>
                </c:pt>
                <c:pt idx="173">
                  <c:v>23</c:v>
                </c:pt>
                <c:pt idx="174">
                  <c:v>82</c:v>
                </c:pt>
                <c:pt idx="175">
                  <c:v>48</c:v>
                </c:pt>
                <c:pt idx="176">
                  <c:v>37</c:v>
                </c:pt>
                <c:pt idx="177">
                  <c:v>36</c:v>
                </c:pt>
                <c:pt idx="178">
                  <c:v>48</c:v>
                </c:pt>
                <c:pt idx="179">
                  <c:v>12</c:v>
                </c:pt>
                <c:pt idx="180">
                  <c:v>10</c:v>
                </c:pt>
                <c:pt idx="181">
                  <c:v>67</c:v>
                </c:pt>
                <c:pt idx="182">
                  <c:v>44</c:v>
                </c:pt>
                <c:pt idx="183">
                  <c:v>57</c:v>
                </c:pt>
                <c:pt idx="184">
                  <c:v>48</c:v>
                </c:pt>
                <c:pt idx="185">
                  <c:v>36</c:v>
                </c:pt>
                <c:pt idx="186">
                  <c:v>16</c:v>
                </c:pt>
                <c:pt idx="187">
                  <c:v>14</c:v>
                </c:pt>
                <c:pt idx="188">
                  <c:v>65</c:v>
                </c:pt>
                <c:pt idx="189">
                  <c:v>40</c:v>
                </c:pt>
                <c:pt idx="190">
                  <c:v>31</c:v>
                </c:pt>
                <c:pt idx="191">
                  <c:v>30</c:v>
                </c:pt>
                <c:pt idx="192">
                  <c:v>21</c:v>
                </c:pt>
                <c:pt idx="193">
                  <c:v>12</c:v>
                </c:pt>
                <c:pt idx="194">
                  <c:v>7</c:v>
                </c:pt>
                <c:pt idx="195">
                  <c:v>41</c:v>
                </c:pt>
                <c:pt idx="196">
                  <c:v>27</c:v>
                </c:pt>
                <c:pt idx="197">
                  <c:v>27</c:v>
                </c:pt>
                <c:pt idx="198">
                  <c:v>16</c:v>
                </c:pt>
                <c:pt idx="199">
                  <c:v>24</c:v>
                </c:pt>
                <c:pt idx="200">
                  <c:v>2</c:v>
                </c:pt>
                <c:pt idx="201">
                  <c:v>5</c:v>
                </c:pt>
                <c:pt idx="202">
                  <c:v>39</c:v>
                </c:pt>
                <c:pt idx="203">
                  <c:v>19</c:v>
                </c:pt>
                <c:pt idx="204">
                  <c:v>11</c:v>
                </c:pt>
                <c:pt idx="205">
                  <c:v>11</c:v>
                </c:pt>
                <c:pt idx="206">
                  <c:v>18</c:v>
                </c:pt>
                <c:pt idx="207">
                  <c:v>3</c:v>
                </c:pt>
                <c:pt idx="208">
                  <c:v>1</c:v>
                </c:pt>
                <c:pt idx="209">
                  <c:v>25</c:v>
                </c:pt>
                <c:pt idx="210">
                  <c:v>20</c:v>
                </c:pt>
                <c:pt idx="211">
                  <c:v>14</c:v>
                </c:pt>
                <c:pt idx="212">
                  <c:v>13</c:v>
                </c:pt>
                <c:pt idx="213">
                  <c:v>5</c:v>
                </c:pt>
                <c:pt idx="214">
                  <c:v>4</c:v>
                </c:pt>
                <c:pt idx="215">
                  <c:v>2</c:v>
                </c:pt>
                <c:pt idx="216">
                  <c:v>8</c:v>
                </c:pt>
                <c:pt idx="217">
                  <c:v>22</c:v>
                </c:pt>
                <c:pt idx="218">
                  <c:v>18</c:v>
                </c:pt>
                <c:pt idx="219">
                  <c:v>17</c:v>
                </c:pt>
                <c:pt idx="220">
                  <c:v>8</c:v>
                </c:pt>
                <c:pt idx="221">
                  <c:v>6</c:v>
                </c:pt>
                <c:pt idx="222">
                  <c:v>1</c:v>
                </c:pt>
                <c:pt idx="223">
                  <c:v>9</c:v>
                </c:pt>
                <c:pt idx="224">
                  <c:v>8</c:v>
                </c:pt>
                <c:pt idx="225">
                  <c:v>5</c:v>
                </c:pt>
                <c:pt idx="226">
                  <c:v>7</c:v>
                </c:pt>
                <c:pt idx="227">
                  <c:v>7</c:v>
                </c:pt>
                <c:pt idx="228">
                  <c:v>1</c:v>
                </c:pt>
                <c:pt idx="229">
                  <c:v>1</c:v>
                </c:pt>
                <c:pt idx="230">
                  <c:v>13</c:v>
                </c:pt>
                <c:pt idx="231">
                  <c:v>7</c:v>
                </c:pt>
                <c:pt idx="232">
                  <c:v>7</c:v>
                </c:pt>
                <c:pt idx="233">
                  <c:v>4</c:v>
                </c:pt>
                <c:pt idx="234">
                  <c:v>3</c:v>
                </c:pt>
                <c:pt idx="235">
                  <c:v>1</c:v>
                </c:pt>
                <c:pt idx="236">
                  <c:v>0</c:v>
                </c:pt>
                <c:pt idx="237">
                  <c:v>8</c:v>
                </c:pt>
                <c:pt idx="238">
                  <c:v>9</c:v>
                </c:pt>
                <c:pt idx="239">
                  <c:v>4</c:v>
                </c:pt>
                <c:pt idx="240">
                  <c:v>3</c:v>
                </c:pt>
                <c:pt idx="241">
                  <c:v>6</c:v>
                </c:pt>
                <c:pt idx="242">
                  <c:v>0</c:v>
                </c:pt>
                <c:pt idx="243">
                  <c:v>1</c:v>
                </c:pt>
                <c:pt idx="244">
                  <c:v>4</c:v>
                </c:pt>
                <c:pt idx="245">
                  <c:v>2</c:v>
                </c:pt>
                <c:pt idx="246">
                  <c:v>1</c:v>
                </c:pt>
                <c:pt idx="247">
                  <c:v>5</c:v>
                </c:pt>
                <c:pt idx="248">
                  <c:v>2</c:v>
                </c:pt>
                <c:pt idx="249">
                  <c:v>2</c:v>
                </c:pt>
                <c:pt idx="250">
                  <c:v>0</c:v>
                </c:pt>
                <c:pt idx="251">
                  <c:v>3</c:v>
                </c:pt>
                <c:pt idx="252">
                  <c:v>4</c:v>
                </c:pt>
                <c:pt idx="253">
                  <c:v>0</c:v>
                </c:pt>
                <c:pt idx="254">
                  <c:v>2</c:v>
                </c:pt>
                <c:pt idx="255">
                  <c:v>1</c:v>
                </c:pt>
                <c:pt idx="256">
                  <c:v>0</c:v>
                </c:pt>
                <c:pt idx="257">
                  <c:v>0</c:v>
                </c:pt>
                <c:pt idx="258">
                  <c:v>6</c:v>
                </c:pt>
                <c:pt idx="259">
                  <c:v>5</c:v>
                </c:pt>
                <c:pt idx="260">
                  <c:v>2</c:v>
                </c:pt>
                <c:pt idx="261">
                  <c:v>3</c:v>
                </c:pt>
                <c:pt idx="262">
                  <c:v>1</c:v>
                </c:pt>
                <c:pt idx="263">
                  <c:v>0</c:v>
                </c:pt>
                <c:pt idx="264">
                  <c:v>0</c:v>
                </c:pt>
                <c:pt idx="265">
                  <c:v>2</c:v>
                </c:pt>
                <c:pt idx="266">
                  <c:v>1</c:v>
                </c:pt>
                <c:pt idx="267">
                  <c:v>1</c:v>
                </c:pt>
                <c:pt idx="268">
                  <c:v>2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1</c:v>
                </c:pt>
                <c:pt idx="273">
                  <c:v>0</c:v>
                </c:pt>
                <c:pt idx="274">
                  <c:v>0</c:v>
                </c:pt>
                <c:pt idx="275">
                  <c:v>2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1</c:v>
                </c:pt>
                <c:pt idx="301">
                  <c:v>0</c:v>
                </c:pt>
                <c:pt idx="302">
                  <c:v>1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1</c:v>
                </c:pt>
                <c:pt idx="310">
                  <c:v>1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1</c:v>
                </c:pt>
                <c:pt idx="330">
                  <c:v>2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1</c:v>
                </c:pt>
                <c:pt idx="342">
                  <c:v>0</c:v>
                </c:pt>
                <c:pt idx="343">
                  <c:v>0</c:v>
                </c:pt>
                <c:pt idx="344">
                  <c:v>1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1</c:v>
                </c:pt>
                <c:pt idx="357">
                  <c:v>0</c:v>
                </c:pt>
                <c:pt idx="358">
                  <c:v>0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1</c:v>
                </c:pt>
                <c:pt idx="363">
                  <c:v>0</c:v>
                </c:pt>
                <c:pt idx="364">
                  <c:v>0</c:v>
                </c:pt>
                <c:pt idx="365">
                  <c:v>5</c:v>
                </c:pt>
                <c:pt idx="366">
                  <c:v>1</c:v>
                </c:pt>
                <c:pt idx="367">
                  <c:v>1</c:v>
                </c:pt>
                <c:pt idx="368">
                  <c:v>0</c:v>
                </c:pt>
                <c:pt idx="369">
                  <c:v>0</c:v>
                </c:pt>
                <c:pt idx="370">
                  <c:v>1</c:v>
                </c:pt>
                <c:pt idx="371">
                  <c:v>2</c:v>
                </c:pt>
                <c:pt idx="372">
                  <c:v>1</c:v>
                </c:pt>
                <c:pt idx="373">
                  <c:v>1</c:v>
                </c:pt>
                <c:pt idx="374">
                  <c:v>1</c:v>
                </c:pt>
                <c:pt idx="375">
                  <c:v>0</c:v>
                </c:pt>
                <c:pt idx="376">
                  <c:v>1</c:v>
                </c:pt>
                <c:pt idx="377">
                  <c:v>0</c:v>
                </c:pt>
                <c:pt idx="378">
                  <c:v>1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1</c:v>
                </c:pt>
                <c:pt idx="383">
                  <c:v>0</c:v>
                </c:pt>
                <c:pt idx="384">
                  <c:v>4</c:v>
                </c:pt>
                <c:pt idx="385">
                  <c:v>4</c:v>
                </c:pt>
                <c:pt idx="386">
                  <c:v>2</c:v>
                </c:pt>
                <c:pt idx="387">
                  <c:v>0</c:v>
                </c:pt>
                <c:pt idx="388">
                  <c:v>0</c:v>
                </c:pt>
                <c:pt idx="389">
                  <c:v>1</c:v>
                </c:pt>
                <c:pt idx="390">
                  <c:v>1</c:v>
                </c:pt>
                <c:pt idx="391">
                  <c:v>5</c:v>
                </c:pt>
                <c:pt idx="392">
                  <c:v>2</c:v>
                </c:pt>
                <c:pt idx="393">
                  <c:v>7</c:v>
                </c:pt>
                <c:pt idx="394">
                  <c:v>3</c:v>
                </c:pt>
                <c:pt idx="395">
                  <c:v>3</c:v>
                </c:pt>
                <c:pt idx="396">
                  <c:v>0</c:v>
                </c:pt>
                <c:pt idx="397">
                  <c:v>0</c:v>
                </c:pt>
                <c:pt idx="398">
                  <c:v>4</c:v>
                </c:pt>
                <c:pt idx="399">
                  <c:v>5</c:v>
                </c:pt>
                <c:pt idx="400">
                  <c:v>2</c:v>
                </c:pt>
                <c:pt idx="401">
                  <c:v>1</c:v>
                </c:pt>
                <c:pt idx="402">
                  <c:v>2</c:v>
                </c:pt>
                <c:pt idx="403">
                  <c:v>1</c:v>
                </c:pt>
                <c:pt idx="404">
                  <c:v>0</c:v>
                </c:pt>
                <c:pt idx="405">
                  <c:v>2</c:v>
                </c:pt>
                <c:pt idx="406">
                  <c:v>3</c:v>
                </c:pt>
                <c:pt idx="407">
                  <c:v>1</c:v>
                </c:pt>
                <c:pt idx="408">
                  <c:v>3</c:v>
                </c:pt>
                <c:pt idx="409">
                  <c:v>7</c:v>
                </c:pt>
                <c:pt idx="410">
                  <c:v>2</c:v>
                </c:pt>
                <c:pt idx="411">
                  <c:v>1</c:v>
                </c:pt>
                <c:pt idx="412">
                  <c:v>12</c:v>
                </c:pt>
                <c:pt idx="413">
                  <c:v>8</c:v>
                </c:pt>
                <c:pt idx="414">
                  <c:v>11</c:v>
                </c:pt>
                <c:pt idx="415">
                  <c:v>7</c:v>
                </c:pt>
                <c:pt idx="416">
                  <c:v>12</c:v>
                </c:pt>
                <c:pt idx="417">
                  <c:v>0</c:v>
                </c:pt>
                <c:pt idx="418">
                  <c:v>4</c:v>
                </c:pt>
                <c:pt idx="419">
                  <c:v>20</c:v>
                </c:pt>
                <c:pt idx="420">
                  <c:v>6</c:v>
                </c:pt>
                <c:pt idx="421">
                  <c:v>18</c:v>
                </c:pt>
                <c:pt idx="422">
                  <c:v>3</c:v>
                </c:pt>
                <c:pt idx="423">
                  <c:v>8</c:v>
                </c:pt>
                <c:pt idx="424">
                  <c:v>5</c:v>
                </c:pt>
                <c:pt idx="425">
                  <c:v>4</c:v>
                </c:pt>
                <c:pt idx="426">
                  <c:v>41</c:v>
                </c:pt>
                <c:pt idx="427">
                  <c:v>26</c:v>
                </c:pt>
                <c:pt idx="428">
                  <c:v>21</c:v>
                </c:pt>
                <c:pt idx="429">
                  <c:v>25</c:v>
                </c:pt>
                <c:pt idx="430">
                  <c:v>27</c:v>
                </c:pt>
                <c:pt idx="431">
                  <c:v>13</c:v>
                </c:pt>
                <c:pt idx="432">
                  <c:v>5</c:v>
                </c:pt>
                <c:pt idx="433">
                  <c:v>54</c:v>
                </c:pt>
                <c:pt idx="434">
                  <c:v>28</c:v>
                </c:pt>
                <c:pt idx="435">
                  <c:v>31</c:v>
                </c:pt>
                <c:pt idx="436">
                  <c:v>38</c:v>
                </c:pt>
                <c:pt idx="437">
                  <c:v>34</c:v>
                </c:pt>
                <c:pt idx="438">
                  <c:v>20</c:v>
                </c:pt>
                <c:pt idx="439">
                  <c:v>14</c:v>
                </c:pt>
                <c:pt idx="440">
                  <c:v>59</c:v>
                </c:pt>
                <c:pt idx="441">
                  <c:v>35</c:v>
                </c:pt>
                <c:pt idx="442">
                  <c:v>14</c:v>
                </c:pt>
                <c:pt idx="443">
                  <c:v>43</c:v>
                </c:pt>
                <c:pt idx="444">
                  <c:v>52</c:v>
                </c:pt>
                <c:pt idx="445">
                  <c:v>13</c:v>
                </c:pt>
                <c:pt idx="446">
                  <c:v>7</c:v>
                </c:pt>
                <c:pt idx="447">
                  <c:v>74</c:v>
                </c:pt>
                <c:pt idx="448">
                  <c:v>44</c:v>
                </c:pt>
                <c:pt idx="449">
                  <c:v>50</c:v>
                </c:pt>
                <c:pt idx="450">
                  <c:v>49</c:v>
                </c:pt>
                <c:pt idx="451">
                  <c:v>51</c:v>
                </c:pt>
                <c:pt idx="452">
                  <c:v>22</c:v>
                </c:pt>
                <c:pt idx="453">
                  <c:v>7</c:v>
                </c:pt>
                <c:pt idx="454">
                  <c:v>44</c:v>
                </c:pt>
                <c:pt idx="455">
                  <c:v>48</c:v>
                </c:pt>
                <c:pt idx="456">
                  <c:v>43</c:v>
                </c:pt>
                <c:pt idx="457">
                  <c:v>33</c:v>
                </c:pt>
                <c:pt idx="458">
                  <c:v>30</c:v>
                </c:pt>
                <c:pt idx="459">
                  <c:v>21</c:v>
                </c:pt>
                <c:pt idx="460">
                  <c:v>10</c:v>
                </c:pt>
                <c:pt idx="461">
                  <c:v>51</c:v>
                </c:pt>
                <c:pt idx="462">
                  <c:v>36</c:v>
                </c:pt>
                <c:pt idx="463">
                  <c:v>35</c:v>
                </c:pt>
                <c:pt idx="464">
                  <c:v>26</c:v>
                </c:pt>
                <c:pt idx="465">
                  <c:v>20</c:v>
                </c:pt>
                <c:pt idx="466">
                  <c:v>13</c:v>
                </c:pt>
                <c:pt idx="467">
                  <c:v>9</c:v>
                </c:pt>
                <c:pt idx="468">
                  <c:v>35</c:v>
                </c:pt>
                <c:pt idx="469">
                  <c:v>37</c:v>
                </c:pt>
                <c:pt idx="470">
                  <c:v>28</c:v>
                </c:pt>
                <c:pt idx="471">
                  <c:v>18</c:v>
                </c:pt>
                <c:pt idx="472">
                  <c:v>16</c:v>
                </c:pt>
                <c:pt idx="473">
                  <c:v>8</c:v>
                </c:pt>
                <c:pt idx="474">
                  <c:v>10</c:v>
                </c:pt>
                <c:pt idx="475">
                  <c:v>28</c:v>
                </c:pt>
                <c:pt idx="476">
                  <c:v>13</c:v>
                </c:pt>
                <c:pt idx="477">
                  <c:v>9</c:v>
                </c:pt>
                <c:pt idx="478">
                  <c:v>4</c:v>
                </c:pt>
                <c:pt idx="479">
                  <c:v>7</c:v>
                </c:pt>
                <c:pt idx="480">
                  <c:v>3</c:v>
                </c:pt>
                <c:pt idx="481">
                  <c:v>5</c:v>
                </c:pt>
                <c:pt idx="482">
                  <c:v>10</c:v>
                </c:pt>
                <c:pt idx="483">
                  <c:v>17</c:v>
                </c:pt>
                <c:pt idx="484">
                  <c:v>10</c:v>
                </c:pt>
                <c:pt idx="485">
                  <c:v>10</c:v>
                </c:pt>
                <c:pt idx="486">
                  <c:v>6</c:v>
                </c:pt>
                <c:pt idx="487">
                  <c:v>1</c:v>
                </c:pt>
                <c:pt idx="488">
                  <c:v>4</c:v>
                </c:pt>
                <c:pt idx="489">
                  <c:v>21</c:v>
                </c:pt>
                <c:pt idx="490">
                  <c:v>14</c:v>
                </c:pt>
                <c:pt idx="491">
                  <c:v>5</c:v>
                </c:pt>
                <c:pt idx="492">
                  <c:v>9</c:v>
                </c:pt>
                <c:pt idx="493">
                  <c:v>11</c:v>
                </c:pt>
                <c:pt idx="494">
                  <c:v>3</c:v>
                </c:pt>
                <c:pt idx="495">
                  <c:v>3</c:v>
                </c:pt>
                <c:pt idx="496">
                  <c:v>19</c:v>
                </c:pt>
                <c:pt idx="497">
                  <c:v>11</c:v>
                </c:pt>
                <c:pt idx="498">
                  <c:v>9</c:v>
                </c:pt>
                <c:pt idx="499">
                  <c:v>13</c:v>
                </c:pt>
                <c:pt idx="500">
                  <c:v>12</c:v>
                </c:pt>
                <c:pt idx="501">
                  <c:v>6</c:v>
                </c:pt>
                <c:pt idx="502">
                  <c:v>11</c:v>
                </c:pt>
                <c:pt idx="503">
                  <c:v>47</c:v>
                </c:pt>
                <c:pt idx="504">
                  <c:v>35</c:v>
                </c:pt>
                <c:pt idx="505">
                  <c:v>43</c:v>
                </c:pt>
                <c:pt idx="506">
                  <c:v>48</c:v>
                </c:pt>
                <c:pt idx="507">
                  <c:v>68</c:v>
                </c:pt>
                <c:pt idx="508">
                  <c:v>20</c:v>
                </c:pt>
                <c:pt idx="509">
                  <c:v>16</c:v>
                </c:pt>
                <c:pt idx="510">
                  <c:v>95</c:v>
                </c:pt>
                <c:pt idx="511">
                  <c:v>104</c:v>
                </c:pt>
                <c:pt idx="512">
                  <c:v>99</c:v>
                </c:pt>
                <c:pt idx="513">
                  <c:v>60</c:v>
                </c:pt>
                <c:pt idx="514">
                  <c:v>74</c:v>
                </c:pt>
                <c:pt idx="515">
                  <c:v>30</c:v>
                </c:pt>
                <c:pt idx="516">
                  <c:v>31</c:v>
                </c:pt>
                <c:pt idx="517">
                  <c:v>117</c:v>
                </c:pt>
                <c:pt idx="518">
                  <c:v>117</c:v>
                </c:pt>
                <c:pt idx="519">
                  <c:v>83</c:v>
                </c:pt>
                <c:pt idx="520">
                  <c:v>71</c:v>
                </c:pt>
                <c:pt idx="521">
                  <c:v>84</c:v>
                </c:pt>
                <c:pt idx="522">
                  <c:v>32</c:v>
                </c:pt>
                <c:pt idx="523">
                  <c:v>25</c:v>
                </c:pt>
                <c:pt idx="524">
                  <c:v>133</c:v>
                </c:pt>
                <c:pt idx="525">
                  <c:v>92</c:v>
                </c:pt>
                <c:pt idx="526">
                  <c:v>64</c:v>
                </c:pt>
                <c:pt idx="527">
                  <c:v>69</c:v>
                </c:pt>
                <c:pt idx="528">
                  <c:v>52</c:v>
                </c:pt>
                <c:pt idx="529">
                  <c:v>23</c:v>
                </c:pt>
                <c:pt idx="530">
                  <c:v>27</c:v>
                </c:pt>
                <c:pt idx="531">
                  <c:v>90</c:v>
                </c:pt>
                <c:pt idx="532">
                  <c:v>74</c:v>
                </c:pt>
                <c:pt idx="533">
                  <c:v>69</c:v>
                </c:pt>
                <c:pt idx="534">
                  <c:v>41</c:v>
                </c:pt>
                <c:pt idx="535">
                  <c:v>30</c:v>
                </c:pt>
                <c:pt idx="536">
                  <c:v>24</c:v>
                </c:pt>
                <c:pt idx="537">
                  <c:v>11</c:v>
                </c:pt>
                <c:pt idx="538">
                  <c:v>65</c:v>
                </c:pt>
                <c:pt idx="539">
                  <c:v>39</c:v>
                </c:pt>
                <c:pt idx="540">
                  <c:v>41</c:v>
                </c:pt>
                <c:pt idx="541">
                  <c:v>33</c:v>
                </c:pt>
                <c:pt idx="542">
                  <c:v>26</c:v>
                </c:pt>
                <c:pt idx="543">
                  <c:v>11</c:v>
                </c:pt>
                <c:pt idx="544">
                  <c:v>12</c:v>
                </c:pt>
                <c:pt idx="545">
                  <c:v>42</c:v>
                </c:pt>
                <c:pt idx="546">
                  <c:v>31</c:v>
                </c:pt>
                <c:pt idx="547">
                  <c:v>26</c:v>
                </c:pt>
                <c:pt idx="548">
                  <c:v>19</c:v>
                </c:pt>
                <c:pt idx="549">
                  <c:v>19</c:v>
                </c:pt>
                <c:pt idx="550">
                  <c:v>17</c:v>
                </c:pt>
                <c:pt idx="551">
                  <c:v>10</c:v>
                </c:pt>
                <c:pt idx="552">
                  <c:v>42</c:v>
                </c:pt>
                <c:pt idx="553">
                  <c:v>32</c:v>
                </c:pt>
                <c:pt idx="554">
                  <c:v>35</c:v>
                </c:pt>
                <c:pt idx="555">
                  <c:v>15</c:v>
                </c:pt>
                <c:pt idx="556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celkem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58</c:f>
              <c:numCache>
                <c:formatCode>m/d/yyyy</c:formatCode>
                <c:ptCount val="55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</c:numCache>
            </c:numRef>
          </c:cat>
          <c:val>
            <c:numRef>
              <c:f>Sheet1!$B$2:$B$558</c:f>
              <c:numCache>
                <c:formatCode>#\ ##0_ ;\-#\ ##0\ </c:formatCode>
                <c:ptCount val="557"/>
                <c:pt idx="0">
                  <c:v>9</c:v>
                </c:pt>
                <c:pt idx="1">
                  <c:v>0</c:v>
                </c:pt>
                <c:pt idx="2">
                  <c:v>0</c:v>
                </c:pt>
                <c:pt idx="3">
                  <c:v>4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3</c:v>
                </c:pt>
                <c:pt idx="9">
                  <c:v>1</c:v>
                </c:pt>
                <c:pt idx="10">
                  <c:v>1</c:v>
                </c:pt>
                <c:pt idx="11">
                  <c:v>5</c:v>
                </c:pt>
                <c:pt idx="12">
                  <c:v>1</c:v>
                </c:pt>
                <c:pt idx="13">
                  <c:v>5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4</c:v>
                </c:pt>
                <c:pt idx="18">
                  <c:v>3</c:v>
                </c:pt>
                <c:pt idx="19">
                  <c:v>8</c:v>
                </c:pt>
                <c:pt idx="20">
                  <c:v>6</c:v>
                </c:pt>
                <c:pt idx="21">
                  <c:v>8</c:v>
                </c:pt>
                <c:pt idx="22">
                  <c:v>2</c:v>
                </c:pt>
                <c:pt idx="23">
                  <c:v>7</c:v>
                </c:pt>
                <c:pt idx="24">
                  <c:v>13</c:v>
                </c:pt>
                <c:pt idx="25">
                  <c:v>12</c:v>
                </c:pt>
                <c:pt idx="26">
                  <c:v>7</c:v>
                </c:pt>
                <c:pt idx="27">
                  <c:v>9</c:v>
                </c:pt>
                <c:pt idx="28">
                  <c:v>31</c:v>
                </c:pt>
                <c:pt idx="29">
                  <c:v>38</c:v>
                </c:pt>
                <c:pt idx="30">
                  <c:v>61</c:v>
                </c:pt>
                <c:pt idx="31">
                  <c:v>160</c:v>
                </c:pt>
                <c:pt idx="32">
                  <c:v>69</c:v>
                </c:pt>
                <c:pt idx="33">
                  <c:v>86</c:v>
                </c:pt>
                <c:pt idx="34">
                  <c:v>267</c:v>
                </c:pt>
                <c:pt idx="35">
                  <c:v>133</c:v>
                </c:pt>
                <c:pt idx="36">
                  <c:v>88</c:v>
                </c:pt>
                <c:pt idx="37">
                  <c:v>167</c:v>
                </c:pt>
                <c:pt idx="38">
                  <c:v>232</c:v>
                </c:pt>
                <c:pt idx="39">
                  <c:v>81</c:v>
                </c:pt>
                <c:pt idx="40">
                  <c:v>39</c:v>
                </c:pt>
                <c:pt idx="41">
                  <c:v>317</c:v>
                </c:pt>
                <c:pt idx="42">
                  <c:v>388</c:v>
                </c:pt>
                <c:pt idx="43">
                  <c:v>381</c:v>
                </c:pt>
                <c:pt idx="44">
                  <c:v>416</c:v>
                </c:pt>
                <c:pt idx="45">
                  <c:v>423</c:v>
                </c:pt>
                <c:pt idx="46">
                  <c:v>266</c:v>
                </c:pt>
                <c:pt idx="47">
                  <c:v>91</c:v>
                </c:pt>
                <c:pt idx="48">
                  <c:v>451</c:v>
                </c:pt>
                <c:pt idx="49">
                  <c:v>406</c:v>
                </c:pt>
                <c:pt idx="50">
                  <c:v>601</c:v>
                </c:pt>
                <c:pt idx="51">
                  <c:v>480</c:v>
                </c:pt>
                <c:pt idx="52">
                  <c:v>772</c:v>
                </c:pt>
                <c:pt idx="53">
                  <c:v>419</c:v>
                </c:pt>
                <c:pt idx="54">
                  <c:v>289</c:v>
                </c:pt>
                <c:pt idx="55">
                  <c:v>778</c:v>
                </c:pt>
                <c:pt idx="56">
                  <c:v>959</c:v>
                </c:pt>
                <c:pt idx="57">
                  <c:v>405</c:v>
                </c:pt>
                <c:pt idx="58">
                  <c:v>1034</c:v>
                </c:pt>
                <c:pt idx="59">
                  <c:v>937</c:v>
                </c:pt>
                <c:pt idx="60">
                  <c:v>526</c:v>
                </c:pt>
                <c:pt idx="61">
                  <c:v>337</c:v>
                </c:pt>
                <c:pt idx="62">
                  <c:v>655</c:v>
                </c:pt>
                <c:pt idx="63">
                  <c:v>594</c:v>
                </c:pt>
                <c:pt idx="64">
                  <c:v>773</c:v>
                </c:pt>
                <c:pt idx="65">
                  <c:v>835</c:v>
                </c:pt>
                <c:pt idx="66">
                  <c:v>747</c:v>
                </c:pt>
                <c:pt idx="67">
                  <c:v>338</c:v>
                </c:pt>
                <c:pt idx="68">
                  <c:v>132</c:v>
                </c:pt>
                <c:pt idx="69">
                  <c:v>416</c:v>
                </c:pt>
                <c:pt idx="70">
                  <c:v>600</c:v>
                </c:pt>
                <c:pt idx="71">
                  <c:v>959</c:v>
                </c:pt>
                <c:pt idx="72">
                  <c:v>754</c:v>
                </c:pt>
                <c:pt idx="73">
                  <c:v>697</c:v>
                </c:pt>
                <c:pt idx="74">
                  <c:v>264</c:v>
                </c:pt>
                <c:pt idx="75">
                  <c:v>204</c:v>
                </c:pt>
                <c:pt idx="76">
                  <c:v>592</c:v>
                </c:pt>
                <c:pt idx="77">
                  <c:v>192</c:v>
                </c:pt>
                <c:pt idx="78">
                  <c:v>442</c:v>
                </c:pt>
                <c:pt idx="79">
                  <c:v>414</c:v>
                </c:pt>
                <c:pt idx="80">
                  <c:v>372</c:v>
                </c:pt>
                <c:pt idx="81">
                  <c:v>136</c:v>
                </c:pt>
                <c:pt idx="82">
                  <c:v>113</c:v>
                </c:pt>
                <c:pt idx="83">
                  <c:v>537</c:v>
                </c:pt>
                <c:pt idx="84">
                  <c:v>313</c:v>
                </c:pt>
                <c:pt idx="85">
                  <c:v>229</c:v>
                </c:pt>
                <c:pt idx="86">
                  <c:v>259</c:v>
                </c:pt>
                <c:pt idx="87">
                  <c:v>224</c:v>
                </c:pt>
                <c:pt idx="88">
                  <c:v>101</c:v>
                </c:pt>
                <c:pt idx="89">
                  <c:v>45</c:v>
                </c:pt>
                <c:pt idx="90">
                  <c:v>328</c:v>
                </c:pt>
                <c:pt idx="91">
                  <c:v>216</c:v>
                </c:pt>
                <c:pt idx="92">
                  <c:v>211</c:v>
                </c:pt>
                <c:pt idx="93">
                  <c:v>195</c:v>
                </c:pt>
                <c:pt idx="94">
                  <c:v>242</c:v>
                </c:pt>
                <c:pt idx="95">
                  <c:v>131</c:v>
                </c:pt>
                <c:pt idx="96">
                  <c:v>51</c:v>
                </c:pt>
                <c:pt idx="97">
                  <c:v>266</c:v>
                </c:pt>
                <c:pt idx="98">
                  <c:v>171</c:v>
                </c:pt>
                <c:pt idx="99">
                  <c:v>208</c:v>
                </c:pt>
                <c:pt idx="100">
                  <c:v>148</c:v>
                </c:pt>
                <c:pt idx="101">
                  <c:v>320</c:v>
                </c:pt>
                <c:pt idx="102">
                  <c:v>88</c:v>
                </c:pt>
                <c:pt idx="103">
                  <c:v>68</c:v>
                </c:pt>
                <c:pt idx="104">
                  <c:v>292</c:v>
                </c:pt>
                <c:pt idx="105">
                  <c:v>207</c:v>
                </c:pt>
                <c:pt idx="106">
                  <c:v>198</c:v>
                </c:pt>
                <c:pt idx="107">
                  <c:v>126</c:v>
                </c:pt>
                <c:pt idx="108">
                  <c:v>312</c:v>
                </c:pt>
                <c:pt idx="109">
                  <c:v>93</c:v>
                </c:pt>
                <c:pt idx="110">
                  <c:v>51</c:v>
                </c:pt>
                <c:pt idx="111">
                  <c:v>348</c:v>
                </c:pt>
                <c:pt idx="112">
                  <c:v>296</c:v>
                </c:pt>
                <c:pt idx="113">
                  <c:v>254</c:v>
                </c:pt>
                <c:pt idx="114">
                  <c:v>51</c:v>
                </c:pt>
                <c:pt idx="115">
                  <c:v>123</c:v>
                </c:pt>
                <c:pt idx="116">
                  <c:v>134</c:v>
                </c:pt>
                <c:pt idx="117">
                  <c:v>147</c:v>
                </c:pt>
                <c:pt idx="118">
                  <c:v>364</c:v>
                </c:pt>
                <c:pt idx="119">
                  <c:v>338</c:v>
                </c:pt>
                <c:pt idx="120">
                  <c:v>264</c:v>
                </c:pt>
                <c:pt idx="121">
                  <c:v>230</c:v>
                </c:pt>
                <c:pt idx="122">
                  <c:v>102</c:v>
                </c:pt>
                <c:pt idx="123">
                  <c:v>129</c:v>
                </c:pt>
                <c:pt idx="124">
                  <c:v>83</c:v>
                </c:pt>
                <c:pt idx="125">
                  <c:v>577</c:v>
                </c:pt>
                <c:pt idx="126">
                  <c:v>307</c:v>
                </c:pt>
                <c:pt idx="127">
                  <c:v>286</c:v>
                </c:pt>
                <c:pt idx="128">
                  <c:v>344</c:v>
                </c:pt>
                <c:pt idx="129">
                  <c:v>324</c:v>
                </c:pt>
                <c:pt idx="130">
                  <c:v>126</c:v>
                </c:pt>
                <c:pt idx="131">
                  <c:v>64</c:v>
                </c:pt>
                <c:pt idx="132">
                  <c:v>492</c:v>
                </c:pt>
                <c:pt idx="133">
                  <c:v>231</c:v>
                </c:pt>
                <c:pt idx="134">
                  <c:v>288</c:v>
                </c:pt>
                <c:pt idx="135">
                  <c:v>157</c:v>
                </c:pt>
                <c:pt idx="136">
                  <c:v>163</c:v>
                </c:pt>
                <c:pt idx="137">
                  <c:v>71</c:v>
                </c:pt>
                <c:pt idx="138">
                  <c:v>76</c:v>
                </c:pt>
                <c:pt idx="139">
                  <c:v>301</c:v>
                </c:pt>
                <c:pt idx="140">
                  <c:v>161</c:v>
                </c:pt>
                <c:pt idx="141">
                  <c:v>220</c:v>
                </c:pt>
                <c:pt idx="142">
                  <c:v>178</c:v>
                </c:pt>
                <c:pt idx="143">
                  <c:v>202</c:v>
                </c:pt>
                <c:pt idx="144">
                  <c:v>82</c:v>
                </c:pt>
                <c:pt idx="145">
                  <c:v>40</c:v>
                </c:pt>
                <c:pt idx="146">
                  <c:v>180</c:v>
                </c:pt>
                <c:pt idx="147">
                  <c:v>122</c:v>
                </c:pt>
                <c:pt idx="148">
                  <c:v>156</c:v>
                </c:pt>
                <c:pt idx="149">
                  <c:v>104</c:v>
                </c:pt>
                <c:pt idx="150">
                  <c:v>89</c:v>
                </c:pt>
                <c:pt idx="151">
                  <c:v>80</c:v>
                </c:pt>
                <c:pt idx="152">
                  <c:v>26</c:v>
                </c:pt>
                <c:pt idx="153">
                  <c:v>192</c:v>
                </c:pt>
                <c:pt idx="154">
                  <c:v>175</c:v>
                </c:pt>
                <c:pt idx="155">
                  <c:v>164</c:v>
                </c:pt>
                <c:pt idx="156">
                  <c:v>132</c:v>
                </c:pt>
                <c:pt idx="157">
                  <c:v>141</c:v>
                </c:pt>
                <c:pt idx="158">
                  <c:v>58</c:v>
                </c:pt>
                <c:pt idx="159">
                  <c:v>34</c:v>
                </c:pt>
                <c:pt idx="160">
                  <c:v>142</c:v>
                </c:pt>
                <c:pt idx="161">
                  <c:v>88</c:v>
                </c:pt>
                <c:pt idx="162">
                  <c:v>102</c:v>
                </c:pt>
                <c:pt idx="163">
                  <c:v>112</c:v>
                </c:pt>
                <c:pt idx="164">
                  <c:v>92</c:v>
                </c:pt>
                <c:pt idx="165">
                  <c:v>24</c:v>
                </c:pt>
                <c:pt idx="166">
                  <c:v>33</c:v>
                </c:pt>
                <c:pt idx="167">
                  <c:v>105</c:v>
                </c:pt>
                <c:pt idx="168">
                  <c:v>53</c:v>
                </c:pt>
                <c:pt idx="169">
                  <c:v>67</c:v>
                </c:pt>
                <c:pt idx="170">
                  <c:v>65</c:v>
                </c:pt>
                <c:pt idx="171">
                  <c:v>72</c:v>
                </c:pt>
                <c:pt idx="172">
                  <c:v>27</c:v>
                </c:pt>
                <c:pt idx="173">
                  <c:v>31</c:v>
                </c:pt>
                <c:pt idx="174">
                  <c:v>174</c:v>
                </c:pt>
                <c:pt idx="175">
                  <c:v>85</c:v>
                </c:pt>
                <c:pt idx="176">
                  <c:v>71</c:v>
                </c:pt>
                <c:pt idx="177">
                  <c:v>82</c:v>
                </c:pt>
                <c:pt idx="178">
                  <c:v>97</c:v>
                </c:pt>
                <c:pt idx="179">
                  <c:v>23</c:v>
                </c:pt>
                <c:pt idx="180">
                  <c:v>13</c:v>
                </c:pt>
                <c:pt idx="181">
                  <c:v>146</c:v>
                </c:pt>
                <c:pt idx="182">
                  <c:v>73</c:v>
                </c:pt>
                <c:pt idx="183">
                  <c:v>101</c:v>
                </c:pt>
                <c:pt idx="184">
                  <c:v>59</c:v>
                </c:pt>
                <c:pt idx="185">
                  <c:v>60</c:v>
                </c:pt>
                <c:pt idx="186">
                  <c:v>21</c:v>
                </c:pt>
                <c:pt idx="187">
                  <c:v>20</c:v>
                </c:pt>
                <c:pt idx="188">
                  <c:v>93</c:v>
                </c:pt>
                <c:pt idx="189">
                  <c:v>152</c:v>
                </c:pt>
                <c:pt idx="190">
                  <c:v>95</c:v>
                </c:pt>
                <c:pt idx="191">
                  <c:v>45</c:v>
                </c:pt>
                <c:pt idx="192">
                  <c:v>55</c:v>
                </c:pt>
                <c:pt idx="193">
                  <c:v>21</c:v>
                </c:pt>
                <c:pt idx="194">
                  <c:v>14</c:v>
                </c:pt>
                <c:pt idx="195">
                  <c:v>73</c:v>
                </c:pt>
                <c:pt idx="196">
                  <c:v>49</c:v>
                </c:pt>
                <c:pt idx="197">
                  <c:v>39</c:v>
                </c:pt>
                <c:pt idx="198">
                  <c:v>53</c:v>
                </c:pt>
                <c:pt idx="199">
                  <c:v>42</c:v>
                </c:pt>
                <c:pt idx="200">
                  <c:v>12</c:v>
                </c:pt>
                <c:pt idx="201">
                  <c:v>9</c:v>
                </c:pt>
                <c:pt idx="202">
                  <c:v>52</c:v>
                </c:pt>
                <c:pt idx="203">
                  <c:v>50</c:v>
                </c:pt>
                <c:pt idx="204">
                  <c:v>33</c:v>
                </c:pt>
                <c:pt idx="205">
                  <c:v>43</c:v>
                </c:pt>
                <c:pt idx="206">
                  <c:v>25</c:v>
                </c:pt>
                <c:pt idx="207">
                  <c:v>6</c:v>
                </c:pt>
                <c:pt idx="208">
                  <c:v>5</c:v>
                </c:pt>
                <c:pt idx="209">
                  <c:v>47</c:v>
                </c:pt>
                <c:pt idx="210">
                  <c:v>33</c:v>
                </c:pt>
                <c:pt idx="211">
                  <c:v>25</c:v>
                </c:pt>
                <c:pt idx="212">
                  <c:v>24</c:v>
                </c:pt>
                <c:pt idx="213">
                  <c:v>9</c:v>
                </c:pt>
                <c:pt idx="214">
                  <c:v>8</c:v>
                </c:pt>
                <c:pt idx="215">
                  <c:v>4</c:v>
                </c:pt>
                <c:pt idx="216">
                  <c:v>9</c:v>
                </c:pt>
                <c:pt idx="217">
                  <c:v>27</c:v>
                </c:pt>
                <c:pt idx="218">
                  <c:v>37</c:v>
                </c:pt>
                <c:pt idx="219">
                  <c:v>19</c:v>
                </c:pt>
                <c:pt idx="220">
                  <c:v>11</c:v>
                </c:pt>
                <c:pt idx="221">
                  <c:v>7</c:v>
                </c:pt>
                <c:pt idx="222">
                  <c:v>1</c:v>
                </c:pt>
                <c:pt idx="223">
                  <c:v>11</c:v>
                </c:pt>
                <c:pt idx="224">
                  <c:v>11</c:v>
                </c:pt>
                <c:pt idx="225">
                  <c:v>9</c:v>
                </c:pt>
                <c:pt idx="226">
                  <c:v>11</c:v>
                </c:pt>
                <c:pt idx="227">
                  <c:v>8</c:v>
                </c:pt>
                <c:pt idx="228">
                  <c:v>2</c:v>
                </c:pt>
                <c:pt idx="229">
                  <c:v>3</c:v>
                </c:pt>
                <c:pt idx="230">
                  <c:v>19</c:v>
                </c:pt>
                <c:pt idx="231">
                  <c:v>12</c:v>
                </c:pt>
                <c:pt idx="232">
                  <c:v>10</c:v>
                </c:pt>
                <c:pt idx="233">
                  <c:v>23</c:v>
                </c:pt>
                <c:pt idx="234">
                  <c:v>11</c:v>
                </c:pt>
                <c:pt idx="235">
                  <c:v>2</c:v>
                </c:pt>
                <c:pt idx="236">
                  <c:v>0</c:v>
                </c:pt>
                <c:pt idx="237">
                  <c:v>10</c:v>
                </c:pt>
                <c:pt idx="238">
                  <c:v>13</c:v>
                </c:pt>
                <c:pt idx="239">
                  <c:v>5</c:v>
                </c:pt>
                <c:pt idx="240">
                  <c:v>5</c:v>
                </c:pt>
                <c:pt idx="241">
                  <c:v>7</c:v>
                </c:pt>
                <c:pt idx="242">
                  <c:v>0</c:v>
                </c:pt>
                <c:pt idx="243">
                  <c:v>1</c:v>
                </c:pt>
                <c:pt idx="244">
                  <c:v>6</c:v>
                </c:pt>
                <c:pt idx="245">
                  <c:v>2</c:v>
                </c:pt>
                <c:pt idx="246">
                  <c:v>4</c:v>
                </c:pt>
                <c:pt idx="247">
                  <c:v>6</c:v>
                </c:pt>
                <c:pt idx="248">
                  <c:v>4</c:v>
                </c:pt>
                <c:pt idx="249">
                  <c:v>2</c:v>
                </c:pt>
                <c:pt idx="250">
                  <c:v>3</c:v>
                </c:pt>
                <c:pt idx="251">
                  <c:v>8</c:v>
                </c:pt>
                <c:pt idx="252">
                  <c:v>6</c:v>
                </c:pt>
                <c:pt idx="253">
                  <c:v>0</c:v>
                </c:pt>
                <c:pt idx="254">
                  <c:v>5</c:v>
                </c:pt>
                <c:pt idx="255">
                  <c:v>6</c:v>
                </c:pt>
                <c:pt idx="256">
                  <c:v>1</c:v>
                </c:pt>
                <c:pt idx="257">
                  <c:v>0</c:v>
                </c:pt>
                <c:pt idx="258">
                  <c:v>9</c:v>
                </c:pt>
                <c:pt idx="259">
                  <c:v>5</c:v>
                </c:pt>
                <c:pt idx="260">
                  <c:v>4</c:v>
                </c:pt>
                <c:pt idx="261">
                  <c:v>3</c:v>
                </c:pt>
                <c:pt idx="262">
                  <c:v>1</c:v>
                </c:pt>
                <c:pt idx="263">
                  <c:v>0</c:v>
                </c:pt>
                <c:pt idx="264">
                  <c:v>0</c:v>
                </c:pt>
                <c:pt idx="265">
                  <c:v>4</c:v>
                </c:pt>
                <c:pt idx="266">
                  <c:v>1</c:v>
                </c:pt>
                <c:pt idx="267">
                  <c:v>1</c:v>
                </c:pt>
                <c:pt idx="268">
                  <c:v>2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2</c:v>
                </c:pt>
                <c:pt idx="273">
                  <c:v>0</c:v>
                </c:pt>
                <c:pt idx="274">
                  <c:v>3</c:v>
                </c:pt>
                <c:pt idx="275">
                  <c:v>3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1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1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2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1</c:v>
                </c:pt>
                <c:pt idx="301">
                  <c:v>0</c:v>
                </c:pt>
                <c:pt idx="302">
                  <c:v>1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1</c:v>
                </c:pt>
                <c:pt idx="307">
                  <c:v>0</c:v>
                </c:pt>
                <c:pt idx="308">
                  <c:v>1</c:v>
                </c:pt>
                <c:pt idx="309">
                  <c:v>1</c:v>
                </c:pt>
                <c:pt idx="310">
                  <c:v>2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1</c:v>
                </c:pt>
                <c:pt idx="330">
                  <c:v>2</c:v>
                </c:pt>
                <c:pt idx="331">
                  <c:v>0</c:v>
                </c:pt>
                <c:pt idx="332">
                  <c:v>1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1</c:v>
                </c:pt>
                <c:pt idx="342">
                  <c:v>0</c:v>
                </c:pt>
                <c:pt idx="343">
                  <c:v>0</c:v>
                </c:pt>
                <c:pt idx="344">
                  <c:v>1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1</c:v>
                </c:pt>
                <c:pt idx="350">
                  <c:v>1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3</c:v>
                </c:pt>
                <c:pt idx="357">
                  <c:v>0</c:v>
                </c:pt>
                <c:pt idx="358">
                  <c:v>0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1</c:v>
                </c:pt>
                <c:pt idx="363">
                  <c:v>0</c:v>
                </c:pt>
                <c:pt idx="364">
                  <c:v>0</c:v>
                </c:pt>
                <c:pt idx="365">
                  <c:v>6</c:v>
                </c:pt>
                <c:pt idx="366">
                  <c:v>5</c:v>
                </c:pt>
                <c:pt idx="367">
                  <c:v>3</c:v>
                </c:pt>
                <c:pt idx="368">
                  <c:v>1</c:v>
                </c:pt>
                <c:pt idx="369">
                  <c:v>0</c:v>
                </c:pt>
                <c:pt idx="370">
                  <c:v>5</c:v>
                </c:pt>
                <c:pt idx="371">
                  <c:v>2</c:v>
                </c:pt>
                <c:pt idx="372">
                  <c:v>1</c:v>
                </c:pt>
                <c:pt idx="373">
                  <c:v>2</c:v>
                </c:pt>
                <c:pt idx="374">
                  <c:v>1</c:v>
                </c:pt>
                <c:pt idx="375">
                  <c:v>0</c:v>
                </c:pt>
                <c:pt idx="376">
                  <c:v>1</c:v>
                </c:pt>
                <c:pt idx="377">
                  <c:v>1</c:v>
                </c:pt>
                <c:pt idx="378">
                  <c:v>1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1</c:v>
                </c:pt>
                <c:pt idx="383">
                  <c:v>0</c:v>
                </c:pt>
                <c:pt idx="384">
                  <c:v>5</c:v>
                </c:pt>
                <c:pt idx="385">
                  <c:v>8</c:v>
                </c:pt>
                <c:pt idx="386">
                  <c:v>3</c:v>
                </c:pt>
                <c:pt idx="387">
                  <c:v>0</c:v>
                </c:pt>
                <c:pt idx="388">
                  <c:v>0</c:v>
                </c:pt>
                <c:pt idx="389">
                  <c:v>1</c:v>
                </c:pt>
                <c:pt idx="390">
                  <c:v>1</c:v>
                </c:pt>
                <c:pt idx="391">
                  <c:v>7</c:v>
                </c:pt>
                <c:pt idx="392">
                  <c:v>2</c:v>
                </c:pt>
                <c:pt idx="393">
                  <c:v>8</c:v>
                </c:pt>
                <c:pt idx="394">
                  <c:v>3</c:v>
                </c:pt>
                <c:pt idx="395">
                  <c:v>4</c:v>
                </c:pt>
                <c:pt idx="396">
                  <c:v>1</c:v>
                </c:pt>
                <c:pt idx="397">
                  <c:v>1</c:v>
                </c:pt>
                <c:pt idx="398">
                  <c:v>6</c:v>
                </c:pt>
                <c:pt idx="399">
                  <c:v>7</c:v>
                </c:pt>
                <c:pt idx="400">
                  <c:v>13</c:v>
                </c:pt>
                <c:pt idx="401">
                  <c:v>3</c:v>
                </c:pt>
                <c:pt idx="402">
                  <c:v>27</c:v>
                </c:pt>
                <c:pt idx="403">
                  <c:v>2</c:v>
                </c:pt>
                <c:pt idx="404">
                  <c:v>0</c:v>
                </c:pt>
                <c:pt idx="405">
                  <c:v>3</c:v>
                </c:pt>
                <c:pt idx="406">
                  <c:v>4</c:v>
                </c:pt>
                <c:pt idx="407">
                  <c:v>21</c:v>
                </c:pt>
                <c:pt idx="408">
                  <c:v>6</c:v>
                </c:pt>
                <c:pt idx="409">
                  <c:v>9</c:v>
                </c:pt>
                <c:pt idx="410">
                  <c:v>2</c:v>
                </c:pt>
                <c:pt idx="411">
                  <c:v>1</c:v>
                </c:pt>
                <c:pt idx="412">
                  <c:v>18</c:v>
                </c:pt>
                <c:pt idx="413">
                  <c:v>13</c:v>
                </c:pt>
                <c:pt idx="414">
                  <c:v>15</c:v>
                </c:pt>
                <c:pt idx="415">
                  <c:v>9</c:v>
                </c:pt>
                <c:pt idx="416">
                  <c:v>17</c:v>
                </c:pt>
                <c:pt idx="417">
                  <c:v>1</c:v>
                </c:pt>
                <c:pt idx="418">
                  <c:v>5</c:v>
                </c:pt>
                <c:pt idx="419">
                  <c:v>34</c:v>
                </c:pt>
                <c:pt idx="420">
                  <c:v>15</c:v>
                </c:pt>
                <c:pt idx="421">
                  <c:v>29</c:v>
                </c:pt>
                <c:pt idx="422">
                  <c:v>3</c:v>
                </c:pt>
                <c:pt idx="423">
                  <c:v>26</c:v>
                </c:pt>
                <c:pt idx="424">
                  <c:v>12</c:v>
                </c:pt>
                <c:pt idx="425">
                  <c:v>15</c:v>
                </c:pt>
                <c:pt idx="426">
                  <c:v>76</c:v>
                </c:pt>
                <c:pt idx="427">
                  <c:v>41</c:v>
                </c:pt>
                <c:pt idx="428">
                  <c:v>37</c:v>
                </c:pt>
                <c:pt idx="429">
                  <c:v>78</c:v>
                </c:pt>
                <c:pt idx="430">
                  <c:v>50</c:v>
                </c:pt>
                <c:pt idx="431">
                  <c:v>19</c:v>
                </c:pt>
                <c:pt idx="432">
                  <c:v>10</c:v>
                </c:pt>
                <c:pt idx="433">
                  <c:v>84</c:v>
                </c:pt>
                <c:pt idx="434">
                  <c:v>58</c:v>
                </c:pt>
                <c:pt idx="435">
                  <c:v>47</c:v>
                </c:pt>
                <c:pt idx="436">
                  <c:v>57</c:v>
                </c:pt>
                <c:pt idx="437">
                  <c:v>51</c:v>
                </c:pt>
                <c:pt idx="438">
                  <c:v>33</c:v>
                </c:pt>
                <c:pt idx="439">
                  <c:v>29</c:v>
                </c:pt>
                <c:pt idx="440">
                  <c:v>102</c:v>
                </c:pt>
                <c:pt idx="441">
                  <c:v>67</c:v>
                </c:pt>
                <c:pt idx="442">
                  <c:v>39</c:v>
                </c:pt>
                <c:pt idx="443">
                  <c:v>99</c:v>
                </c:pt>
                <c:pt idx="444">
                  <c:v>137</c:v>
                </c:pt>
                <c:pt idx="445">
                  <c:v>39</c:v>
                </c:pt>
                <c:pt idx="446">
                  <c:v>16</c:v>
                </c:pt>
                <c:pt idx="447">
                  <c:v>124</c:v>
                </c:pt>
                <c:pt idx="448">
                  <c:v>68</c:v>
                </c:pt>
                <c:pt idx="449">
                  <c:v>92</c:v>
                </c:pt>
                <c:pt idx="450">
                  <c:v>78</c:v>
                </c:pt>
                <c:pt idx="451">
                  <c:v>104</c:v>
                </c:pt>
                <c:pt idx="452">
                  <c:v>27</c:v>
                </c:pt>
                <c:pt idx="453">
                  <c:v>14</c:v>
                </c:pt>
                <c:pt idx="454">
                  <c:v>88</c:v>
                </c:pt>
                <c:pt idx="455">
                  <c:v>63</c:v>
                </c:pt>
                <c:pt idx="456">
                  <c:v>74</c:v>
                </c:pt>
                <c:pt idx="457">
                  <c:v>64</c:v>
                </c:pt>
                <c:pt idx="458">
                  <c:v>44</c:v>
                </c:pt>
                <c:pt idx="459">
                  <c:v>59</c:v>
                </c:pt>
                <c:pt idx="460">
                  <c:v>17</c:v>
                </c:pt>
                <c:pt idx="461">
                  <c:v>82</c:v>
                </c:pt>
                <c:pt idx="462">
                  <c:v>58</c:v>
                </c:pt>
                <c:pt idx="463">
                  <c:v>53</c:v>
                </c:pt>
                <c:pt idx="464">
                  <c:v>57</c:v>
                </c:pt>
                <c:pt idx="465">
                  <c:v>50</c:v>
                </c:pt>
                <c:pt idx="466">
                  <c:v>19</c:v>
                </c:pt>
                <c:pt idx="467">
                  <c:v>10</c:v>
                </c:pt>
                <c:pt idx="468">
                  <c:v>53</c:v>
                </c:pt>
                <c:pt idx="469">
                  <c:v>64</c:v>
                </c:pt>
                <c:pt idx="470">
                  <c:v>45</c:v>
                </c:pt>
                <c:pt idx="471">
                  <c:v>25</c:v>
                </c:pt>
                <c:pt idx="472">
                  <c:v>28</c:v>
                </c:pt>
                <c:pt idx="473">
                  <c:v>10</c:v>
                </c:pt>
                <c:pt idx="474">
                  <c:v>13</c:v>
                </c:pt>
                <c:pt idx="475">
                  <c:v>44</c:v>
                </c:pt>
                <c:pt idx="476">
                  <c:v>21</c:v>
                </c:pt>
                <c:pt idx="477">
                  <c:v>12</c:v>
                </c:pt>
                <c:pt idx="478">
                  <c:v>9</c:v>
                </c:pt>
                <c:pt idx="479">
                  <c:v>8</c:v>
                </c:pt>
                <c:pt idx="480">
                  <c:v>8</c:v>
                </c:pt>
                <c:pt idx="481">
                  <c:v>5</c:v>
                </c:pt>
                <c:pt idx="482">
                  <c:v>20</c:v>
                </c:pt>
                <c:pt idx="483">
                  <c:v>23</c:v>
                </c:pt>
                <c:pt idx="484">
                  <c:v>16</c:v>
                </c:pt>
                <c:pt idx="485">
                  <c:v>12</c:v>
                </c:pt>
                <c:pt idx="486">
                  <c:v>16</c:v>
                </c:pt>
                <c:pt idx="487">
                  <c:v>4</c:v>
                </c:pt>
                <c:pt idx="488">
                  <c:v>4</c:v>
                </c:pt>
                <c:pt idx="489">
                  <c:v>25</c:v>
                </c:pt>
                <c:pt idx="490">
                  <c:v>20</c:v>
                </c:pt>
                <c:pt idx="491">
                  <c:v>12</c:v>
                </c:pt>
                <c:pt idx="492">
                  <c:v>16</c:v>
                </c:pt>
                <c:pt idx="493">
                  <c:v>17</c:v>
                </c:pt>
                <c:pt idx="494">
                  <c:v>4</c:v>
                </c:pt>
                <c:pt idx="495">
                  <c:v>5</c:v>
                </c:pt>
                <c:pt idx="496">
                  <c:v>20</c:v>
                </c:pt>
                <c:pt idx="497">
                  <c:v>19</c:v>
                </c:pt>
                <c:pt idx="498">
                  <c:v>13</c:v>
                </c:pt>
                <c:pt idx="499">
                  <c:v>16</c:v>
                </c:pt>
                <c:pt idx="500">
                  <c:v>20</c:v>
                </c:pt>
                <c:pt idx="501">
                  <c:v>7</c:v>
                </c:pt>
                <c:pt idx="502">
                  <c:v>15</c:v>
                </c:pt>
                <c:pt idx="503">
                  <c:v>68</c:v>
                </c:pt>
                <c:pt idx="504">
                  <c:v>48</c:v>
                </c:pt>
                <c:pt idx="505">
                  <c:v>54</c:v>
                </c:pt>
                <c:pt idx="506">
                  <c:v>70</c:v>
                </c:pt>
                <c:pt idx="507">
                  <c:v>84</c:v>
                </c:pt>
                <c:pt idx="508">
                  <c:v>52</c:v>
                </c:pt>
                <c:pt idx="509">
                  <c:v>22</c:v>
                </c:pt>
                <c:pt idx="510">
                  <c:v>140</c:v>
                </c:pt>
                <c:pt idx="511">
                  <c:v>145</c:v>
                </c:pt>
                <c:pt idx="512">
                  <c:v>138</c:v>
                </c:pt>
                <c:pt idx="513">
                  <c:v>85</c:v>
                </c:pt>
                <c:pt idx="514">
                  <c:v>122</c:v>
                </c:pt>
                <c:pt idx="515">
                  <c:v>34</c:v>
                </c:pt>
                <c:pt idx="516">
                  <c:v>37</c:v>
                </c:pt>
                <c:pt idx="517">
                  <c:v>159</c:v>
                </c:pt>
                <c:pt idx="518">
                  <c:v>170</c:v>
                </c:pt>
                <c:pt idx="519">
                  <c:v>116</c:v>
                </c:pt>
                <c:pt idx="520">
                  <c:v>92</c:v>
                </c:pt>
                <c:pt idx="521">
                  <c:v>141</c:v>
                </c:pt>
                <c:pt idx="522">
                  <c:v>52</c:v>
                </c:pt>
                <c:pt idx="523">
                  <c:v>40</c:v>
                </c:pt>
                <c:pt idx="524">
                  <c:v>221</c:v>
                </c:pt>
                <c:pt idx="525">
                  <c:v>143</c:v>
                </c:pt>
                <c:pt idx="526">
                  <c:v>93</c:v>
                </c:pt>
                <c:pt idx="527">
                  <c:v>109</c:v>
                </c:pt>
                <c:pt idx="528">
                  <c:v>117</c:v>
                </c:pt>
                <c:pt idx="529">
                  <c:v>43</c:v>
                </c:pt>
                <c:pt idx="530">
                  <c:v>43</c:v>
                </c:pt>
                <c:pt idx="531">
                  <c:v>152</c:v>
                </c:pt>
                <c:pt idx="532">
                  <c:v>128</c:v>
                </c:pt>
                <c:pt idx="533">
                  <c:v>119</c:v>
                </c:pt>
                <c:pt idx="534">
                  <c:v>122</c:v>
                </c:pt>
                <c:pt idx="535">
                  <c:v>68</c:v>
                </c:pt>
                <c:pt idx="536">
                  <c:v>32</c:v>
                </c:pt>
                <c:pt idx="537">
                  <c:v>24</c:v>
                </c:pt>
                <c:pt idx="538">
                  <c:v>103</c:v>
                </c:pt>
                <c:pt idx="539">
                  <c:v>100</c:v>
                </c:pt>
                <c:pt idx="540">
                  <c:v>88</c:v>
                </c:pt>
                <c:pt idx="541">
                  <c:v>55</c:v>
                </c:pt>
                <c:pt idx="542">
                  <c:v>65</c:v>
                </c:pt>
                <c:pt idx="543">
                  <c:v>21</c:v>
                </c:pt>
                <c:pt idx="544">
                  <c:v>17</c:v>
                </c:pt>
                <c:pt idx="545">
                  <c:v>82</c:v>
                </c:pt>
                <c:pt idx="546">
                  <c:v>56</c:v>
                </c:pt>
                <c:pt idx="547">
                  <c:v>58</c:v>
                </c:pt>
                <c:pt idx="548">
                  <c:v>38</c:v>
                </c:pt>
                <c:pt idx="549">
                  <c:v>37</c:v>
                </c:pt>
                <c:pt idx="550">
                  <c:v>21</c:v>
                </c:pt>
                <c:pt idx="551" formatCode="General">
                  <c:v>16</c:v>
                </c:pt>
                <c:pt idx="552" formatCode="General">
                  <c:v>68</c:v>
                </c:pt>
                <c:pt idx="553" formatCode="General">
                  <c:v>92</c:v>
                </c:pt>
                <c:pt idx="554" formatCode="General">
                  <c:v>64</c:v>
                </c:pt>
                <c:pt idx="555" formatCode="General">
                  <c:v>34</c:v>
                </c:pt>
                <c:pt idx="556" formatCode="General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1C0-4B0C-A220-7796AA6DAF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9411505068434053E-2"/>
          <c:y val="2.6442228452657451E-2"/>
          <c:w val="0.92286884437605277"/>
          <c:h val="0.825277630035093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mrti_klinet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58</c:f>
              <c:numCache>
                <c:formatCode>m/d/yyyy</c:formatCode>
                <c:ptCount val="55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</c:numCache>
            </c:numRef>
          </c:cat>
          <c:val>
            <c:numRef>
              <c:f>Sheet1!$B$2:$B$558</c:f>
              <c:numCache>
                <c:formatCode>#\ ##0_ ;\-#\ ##0\ </c:formatCode>
                <c:ptCount val="55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1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1</c:v>
                </c:pt>
                <c:pt idx="29">
                  <c:v>0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3</c:v>
                </c:pt>
                <c:pt idx="34">
                  <c:v>5</c:v>
                </c:pt>
                <c:pt idx="35">
                  <c:v>6</c:v>
                </c:pt>
                <c:pt idx="36">
                  <c:v>5</c:v>
                </c:pt>
                <c:pt idx="37">
                  <c:v>4</c:v>
                </c:pt>
                <c:pt idx="38">
                  <c:v>9</c:v>
                </c:pt>
                <c:pt idx="39">
                  <c:v>6</c:v>
                </c:pt>
                <c:pt idx="40">
                  <c:v>1</c:v>
                </c:pt>
                <c:pt idx="41">
                  <c:v>11</c:v>
                </c:pt>
                <c:pt idx="42">
                  <c:v>9</c:v>
                </c:pt>
                <c:pt idx="43">
                  <c:v>12</c:v>
                </c:pt>
                <c:pt idx="44">
                  <c:v>7</c:v>
                </c:pt>
                <c:pt idx="45">
                  <c:v>8</c:v>
                </c:pt>
                <c:pt idx="46">
                  <c:v>7</c:v>
                </c:pt>
                <c:pt idx="47">
                  <c:v>17</c:v>
                </c:pt>
                <c:pt idx="48">
                  <c:v>20</c:v>
                </c:pt>
                <c:pt idx="49">
                  <c:v>13</c:v>
                </c:pt>
                <c:pt idx="50">
                  <c:v>28</c:v>
                </c:pt>
                <c:pt idx="51">
                  <c:v>17</c:v>
                </c:pt>
                <c:pt idx="52">
                  <c:v>15</c:v>
                </c:pt>
                <c:pt idx="53">
                  <c:v>21</c:v>
                </c:pt>
                <c:pt idx="54">
                  <c:v>25</c:v>
                </c:pt>
                <c:pt idx="55">
                  <c:v>34</c:v>
                </c:pt>
                <c:pt idx="56">
                  <c:v>42</c:v>
                </c:pt>
                <c:pt idx="57">
                  <c:v>27</c:v>
                </c:pt>
                <c:pt idx="58">
                  <c:v>45</c:v>
                </c:pt>
                <c:pt idx="59">
                  <c:v>36</c:v>
                </c:pt>
                <c:pt idx="60">
                  <c:v>46</c:v>
                </c:pt>
                <c:pt idx="61">
                  <c:v>47</c:v>
                </c:pt>
                <c:pt idx="62">
                  <c:v>52</c:v>
                </c:pt>
                <c:pt idx="63">
                  <c:v>48</c:v>
                </c:pt>
                <c:pt idx="64">
                  <c:v>54</c:v>
                </c:pt>
                <c:pt idx="65">
                  <c:v>43</c:v>
                </c:pt>
                <c:pt idx="66">
                  <c:v>45</c:v>
                </c:pt>
                <c:pt idx="67">
                  <c:v>42</c:v>
                </c:pt>
                <c:pt idx="68">
                  <c:v>40</c:v>
                </c:pt>
                <c:pt idx="69">
                  <c:v>38</c:v>
                </c:pt>
                <c:pt idx="70">
                  <c:v>44</c:v>
                </c:pt>
                <c:pt idx="71">
                  <c:v>42</c:v>
                </c:pt>
                <c:pt idx="72">
                  <c:v>48</c:v>
                </c:pt>
                <c:pt idx="73">
                  <c:v>47</c:v>
                </c:pt>
                <c:pt idx="74">
                  <c:v>37</c:v>
                </c:pt>
                <c:pt idx="75">
                  <c:v>25</c:v>
                </c:pt>
                <c:pt idx="76">
                  <c:v>35</c:v>
                </c:pt>
                <c:pt idx="77">
                  <c:v>41</c:v>
                </c:pt>
                <c:pt idx="78">
                  <c:v>40</c:v>
                </c:pt>
                <c:pt idx="79">
                  <c:v>37</c:v>
                </c:pt>
                <c:pt idx="80">
                  <c:v>34</c:v>
                </c:pt>
                <c:pt idx="81">
                  <c:v>39</c:v>
                </c:pt>
                <c:pt idx="82">
                  <c:v>29</c:v>
                </c:pt>
                <c:pt idx="83">
                  <c:v>36</c:v>
                </c:pt>
                <c:pt idx="84">
                  <c:v>41</c:v>
                </c:pt>
                <c:pt idx="85">
                  <c:v>27</c:v>
                </c:pt>
                <c:pt idx="86">
                  <c:v>36</c:v>
                </c:pt>
                <c:pt idx="87">
                  <c:v>31</c:v>
                </c:pt>
                <c:pt idx="88">
                  <c:v>31</c:v>
                </c:pt>
                <c:pt idx="89">
                  <c:v>27</c:v>
                </c:pt>
                <c:pt idx="90">
                  <c:v>41</c:v>
                </c:pt>
                <c:pt idx="91">
                  <c:v>24</c:v>
                </c:pt>
                <c:pt idx="92">
                  <c:v>25</c:v>
                </c:pt>
                <c:pt idx="93">
                  <c:v>20</c:v>
                </c:pt>
                <c:pt idx="94">
                  <c:v>20</c:v>
                </c:pt>
                <c:pt idx="95">
                  <c:v>30</c:v>
                </c:pt>
                <c:pt idx="96">
                  <c:v>17</c:v>
                </c:pt>
                <c:pt idx="97">
                  <c:v>21</c:v>
                </c:pt>
                <c:pt idx="98">
                  <c:v>19</c:v>
                </c:pt>
                <c:pt idx="99">
                  <c:v>16</c:v>
                </c:pt>
                <c:pt idx="100">
                  <c:v>25</c:v>
                </c:pt>
                <c:pt idx="101">
                  <c:v>19</c:v>
                </c:pt>
                <c:pt idx="102">
                  <c:v>25</c:v>
                </c:pt>
                <c:pt idx="103">
                  <c:v>18</c:v>
                </c:pt>
                <c:pt idx="104">
                  <c:v>23</c:v>
                </c:pt>
                <c:pt idx="105">
                  <c:v>26</c:v>
                </c:pt>
                <c:pt idx="106">
                  <c:v>25</c:v>
                </c:pt>
                <c:pt idx="107">
                  <c:v>30</c:v>
                </c:pt>
                <c:pt idx="108">
                  <c:v>22</c:v>
                </c:pt>
                <c:pt idx="109">
                  <c:v>11</c:v>
                </c:pt>
                <c:pt idx="110">
                  <c:v>11</c:v>
                </c:pt>
                <c:pt idx="111">
                  <c:v>34</c:v>
                </c:pt>
                <c:pt idx="112">
                  <c:v>19</c:v>
                </c:pt>
                <c:pt idx="113">
                  <c:v>22</c:v>
                </c:pt>
                <c:pt idx="114">
                  <c:v>14</c:v>
                </c:pt>
                <c:pt idx="115">
                  <c:v>21</c:v>
                </c:pt>
                <c:pt idx="116">
                  <c:v>20</c:v>
                </c:pt>
                <c:pt idx="117">
                  <c:v>11</c:v>
                </c:pt>
                <c:pt idx="118">
                  <c:v>25</c:v>
                </c:pt>
                <c:pt idx="119">
                  <c:v>13</c:v>
                </c:pt>
                <c:pt idx="120">
                  <c:v>14</c:v>
                </c:pt>
                <c:pt idx="121">
                  <c:v>13</c:v>
                </c:pt>
                <c:pt idx="122">
                  <c:v>14</c:v>
                </c:pt>
                <c:pt idx="123">
                  <c:v>24</c:v>
                </c:pt>
                <c:pt idx="124">
                  <c:v>19</c:v>
                </c:pt>
                <c:pt idx="125">
                  <c:v>20</c:v>
                </c:pt>
                <c:pt idx="126">
                  <c:v>20</c:v>
                </c:pt>
                <c:pt idx="127">
                  <c:v>23</c:v>
                </c:pt>
                <c:pt idx="128">
                  <c:v>15</c:v>
                </c:pt>
                <c:pt idx="129">
                  <c:v>21</c:v>
                </c:pt>
                <c:pt idx="130">
                  <c:v>13</c:v>
                </c:pt>
                <c:pt idx="131">
                  <c:v>14</c:v>
                </c:pt>
                <c:pt idx="132">
                  <c:v>21</c:v>
                </c:pt>
                <c:pt idx="133">
                  <c:v>20</c:v>
                </c:pt>
                <c:pt idx="134">
                  <c:v>17</c:v>
                </c:pt>
                <c:pt idx="135">
                  <c:v>23</c:v>
                </c:pt>
                <c:pt idx="136">
                  <c:v>21</c:v>
                </c:pt>
                <c:pt idx="137">
                  <c:v>17</c:v>
                </c:pt>
                <c:pt idx="138">
                  <c:v>18</c:v>
                </c:pt>
                <c:pt idx="139">
                  <c:v>22</c:v>
                </c:pt>
                <c:pt idx="140">
                  <c:v>19</c:v>
                </c:pt>
                <c:pt idx="141">
                  <c:v>17</c:v>
                </c:pt>
                <c:pt idx="142">
                  <c:v>14</c:v>
                </c:pt>
                <c:pt idx="143">
                  <c:v>15</c:v>
                </c:pt>
                <c:pt idx="144">
                  <c:v>10</c:v>
                </c:pt>
                <c:pt idx="145">
                  <c:v>13</c:v>
                </c:pt>
                <c:pt idx="146">
                  <c:v>10</c:v>
                </c:pt>
                <c:pt idx="147">
                  <c:v>17</c:v>
                </c:pt>
                <c:pt idx="148">
                  <c:v>14</c:v>
                </c:pt>
                <c:pt idx="149">
                  <c:v>16</c:v>
                </c:pt>
                <c:pt idx="150">
                  <c:v>16</c:v>
                </c:pt>
                <c:pt idx="151">
                  <c:v>11</c:v>
                </c:pt>
                <c:pt idx="152">
                  <c:v>11</c:v>
                </c:pt>
                <c:pt idx="153">
                  <c:v>15</c:v>
                </c:pt>
                <c:pt idx="154">
                  <c:v>9</c:v>
                </c:pt>
                <c:pt idx="155">
                  <c:v>9</c:v>
                </c:pt>
                <c:pt idx="156">
                  <c:v>13</c:v>
                </c:pt>
                <c:pt idx="157">
                  <c:v>10</c:v>
                </c:pt>
                <c:pt idx="158">
                  <c:v>8</c:v>
                </c:pt>
                <c:pt idx="159">
                  <c:v>7</c:v>
                </c:pt>
                <c:pt idx="160">
                  <c:v>7</c:v>
                </c:pt>
                <c:pt idx="161">
                  <c:v>9</c:v>
                </c:pt>
                <c:pt idx="162">
                  <c:v>7</c:v>
                </c:pt>
                <c:pt idx="163">
                  <c:v>8</c:v>
                </c:pt>
                <c:pt idx="164">
                  <c:v>12</c:v>
                </c:pt>
                <c:pt idx="165">
                  <c:v>9</c:v>
                </c:pt>
                <c:pt idx="166">
                  <c:v>12</c:v>
                </c:pt>
                <c:pt idx="167">
                  <c:v>12</c:v>
                </c:pt>
                <c:pt idx="168">
                  <c:v>6</c:v>
                </c:pt>
                <c:pt idx="169">
                  <c:v>6</c:v>
                </c:pt>
                <c:pt idx="170">
                  <c:v>4</c:v>
                </c:pt>
                <c:pt idx="171">
                  <c:v>6</c:v>
                </c:pt>
                <c:pt idx="172">
                  <c:v>6</c:v>
                </c:pt>
                <c:pt idx="173">
                  <c:v>5</c:v>
                </c:pt>
                <c:pt idx="174">
                  <c:v>8</c:v>
                </c:pt>
                <c:pt idx="175">
                  <c:v>6</c:v>
                </c:pt>
                <c:pt idx="176">
                  <c:v>5</c:v>
                </c:pt>
                <c:pt idx="177">
                  <c:v>7</c:v>
                </c:pt>
                <c:pt idx="178">
                  <c:v>4</c:v>
                </c:pt>
                <c:pt idx="179">
                  <c:v>6</c:v>
                </c:pt>
                <c:pt idx="180">
                  <c:v>5</c:v>
                </c:pt>
                <c:pt idx="181">
                  <c:v>14</c:v>
                </c:pt>
                <c:pt idx="182">
                  <c:v>16</c:v>
                </c:pt>
                <c:pt idx="183">
                  <c:v>7</c:v>
                </c:pt>
                <c:pt idx="184">
                  <c:v>4</c:v>
                </c:pt>
                <c:pt idx="185">
                  <c:v>6</c:v>
                </c:pt>
                <c:pt idx="186">
                  <c:v>9</c:v>
                </c:pt>
                <c:pt idx="187">
                  <c:v>4</c:v>
                </c:pt>
                <c:pt idx="188">
                  <c:v>5</c:v>
                </c:pt>
                <c:pt idx="189">
                  <c:v>5</c:v>
                </c:pt>
                <c:pt idx="190">
                  <c:v>6</c:v>
                </c:pt>
                <c:pt idx="191">
                  <c:v>2</c:v>
                </c:pt>
                <c:pt idx="192">
                  <c:v>6</c:v>
                </c:pt>
                <c:pt idx="193">
                  <c:v>5</c:v>
                </c:pt>
                <c:pt idx="194">
                  <c:v>6</c:v>
                </c:pt>
                <c:pt idx="195">
                  <c:v>8</c:v>
                </c:pt>
                <c:pt idx="196">
                  <c:v>9</c:v>
                </c:pt>
                <c:pt idx="197">
                  <c:v>5</c:v>
                </c:pt>
                <c:pt idx="198">
                  <c:v>6</c:v>
                </c:pt>
                <c:pt idx="199">
                  <c:v>1</c:v>
                </c:pt>
                <c:pt idx="200">
                  <c:v>5</c:v>
                </c:pt>
                <c:pt idx="201">
                  <c:v>7</c:v>
                </c:pt>
                <c:pt idx="202">
                  <c:v>5</c:v>
                </c:pt>
                <c:pt idx="203">
                  <c:v>2</c:v>
                </c:pt>
                <c:pt idx="204">
                  <c:v>3</c:v>
                </c:pt>
                <c:pt idx="205">
                  <c:v>3</c:v>
                </c:pt>
                <c:pt idx="206">
                  <c:v>4</c:v>
                </c:pt>
                <c:pt idx="207">
                  <c:v>2</c:v>
                </c:pt>
                <c:pt idx="208">
                  <c:v>1</c:v>
                </c:pt>
                <c:pt idx="209">
                  <c:v>3</c:v>
                </c:pt>
                <c:pt idx="210">
                  <c:v>2</c:v>
                </c:pt>
                <c:pt idx="211">
                  <c:v>2</c:v>
                </c:pt>
                <c:pt idx="212">
                  <c:v>1</c:v>
                </c:pt>
                <c:pt idx="213">
                  <c:v>2</c:v>
                </c:pt>
                <c:pt idx="214">
                  <c:v>1</c:v>
                </c:pt>
                <c:pt idx="215">
                  <c:v>2</c:v>
                </c:pt>
                <c:pt idx="216">
                  <c:v>3</c:v>
                </c:pt>
                <c:pt idx="217">
                  <c:v>2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2</c:v>
                </c:pt>
                <c:pt idx="223">
                  <c:v>0</c:v>
                </c:pt>
                <c:pt idx="224">
                  <c:v>2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1</c:v>
                </c:pt>
                <c:pt idx="230">
                  <c:v>1</c:v>
                </c:pt>
                <c:pt idx="231">
                  <c:v>0</c:v>
                </c:pt>
                <c:pt idx="232">
                  <c:v>2</c:v>
                </c:pt>
                <c:pt idx="233">
                  <c:v>0</c:v>
                </c:pt>
                <c:pt idx="234">
                  <c:v>2</c:v>
                </c:pt>
                <c:pt idx="235">
                  <c:v>1</c:v>
                </c:pt>
                <c:pt idx="236">
                  <c:v>1</c:v>
                </c:pt>
                <c:pt idx="237">
                  <c:v>0</c:v>
                </c:pt>
                <c:pt idx="238">
                  <c:v>1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1</c:v>
                </c:pt>
                <c:pt idx="248">
                  <c:v>0</c:v>
                </c:pt>
                <c:pt idx="249">
                  <c:v>0</c:v>
                </c:pt>
                <c:pt idx="250">
                  <c:v>2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2</c:v>
                </c:pt>
                <c:pt idx="256">
                  <c:v>0</c:v>
                </c:pt>
                <c:pt idx="257">
                  <c:v>0</c:v>
                </c:pt>
                <c:pt idx="258">
                  <c:v>1</c:v>
                </c:pt>
                <c:pt idx="259">
                  <c:v>0</c:v>
                </c:pt>
                <c:pt idx="260">
                  <c:v>1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1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3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1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1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1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1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1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2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1</c:v>
                </c:pt>
                <c:pt idx="409">
                  <c:v>0</c:v>
                </c:pt>
                <c:pt idx="410">
                  <c:v>0</c:v>
                </c:pt>
                <c:pt idx="411">
                  <c:v>2</c:v>
                </c:pt>
                <c:pt idx="412">
                  <c:v>2</c:v>
                </c:pt>
                <c:pt idx="413">
                  <c:v>0</c:v>
                </c:pt>
                <c:pt idx="414">
                  <c:v>0</c:v>
                </c:pt>
                <c:pt idx="415">
                  <c:v>1</c:v>
                </c:pt>
                <c:pt idx="416">
                  <c:v>0</c:v>
                </c:pt>
                <c:pt idx="417">
                  <c:v>0</c:v>
                </c:pt>
                <c:pt idx="418">
                  <c:v>1</c:v>
                </c:pt>
                <c:pt idx="419">
                  <c:v>0</c:v>
                </c:pt>
                <c:pt idx="420">
                  <c:v>0</c:v>
                </c:pt>
                <c:pt idx="421">
                  <c:v>0</c:v>
                </c:pt>
                <c:pt idx="422">
                  <c:v>0</c:v>
                </c:pt>
                <c:pt idx="423">
                  <c:v>3</c:v>
                </c:pt>
                <c:pt idx="424">
                  <c:v>1</c:v>
                </c:pt>
                <c:pt idx="425">
                  <c:v>0</c:v>
                </c:pt>
                <c:pt idx="426">
                  <c:v>1</c:v>
                </c:pt>
                <c:pt idx="427">
                  <c:v>2</c:v>
                </c:pt>
                <c:pt idx="428">
                  <c:v>0</c:v>
                </c:pt>
                <c:pt idx="429">
                  <c:v>2</c:v>
                </c:pt>
                <c:pt idx="430">
                  <c:v>7</c:v>
                </c:pt>
                <c:pt idx="431">
                  <c:v>5</c:v>
                </c:pt>
                <c:pt idx="432">
                  <c:v>3</c:v>
                </c:pt>
                <c:pt idx="433">
                  <c:v>5</c:v>
                </c:pt>
                <c:pt idx="434">
                  <c:v>4</c:v>
                </c:pt>
                <c:pt idx="435">
                  <c:v>3</c:v>
                </c:pt>
                <c:pt idx="436">
                  <c:v>3</c:v>
                </c:pt>
                <c:pt idx="437">
                  <c:v>3</c:v>
                </c:pt>
                <c:pt idx="438">
                  <c:v>4</c:v>
                </c:pt>
                <c:pt idx="439">
                  <c:v>5</c:v>
                </c:pt>
                <c:pt idx="440">
                  <c:v>4</c:v>
                </c:pt>
                <c:pt idx="441">
                  <c:v>1</c:v>
                </c:pt>
                <c:pt idx="442">
                  <c:v>1</c:v>
                </c:pt>
                <c:pt idx="443">
                  <c:v>3</c:v>
                </c:pt>
                <c:pt idx="444">
                  <c:v>4</c:v>
                </c:pt>
                <c:pt idx="445">
                  <c:v>4</c:v>
                </c:pt>
                <c:pt idx="446">
                  <c:v>3</c:v>
                </c:pt>
                <c:pt idx="447">
                  <c:v>3</c:v>
                </c:pt>
                <c:pt idx="448">
                  <c:v>6</c:v>
                </c:pt>
                <c:pt idx="449">
                  <c:v>3</c:v>
                </c:pt>
                <c:pt idx="450">
                  <c:v>3</c:v>
                </c:pt>
                <c:pt idx="451">
                  <c:v>12</c:v>
                </c:pt>
                <c:pt idx="452">
                  <c:v>4</c:v>
                </c:pt>
                <c:pt idx="453">
                  <c:v>5</c:v>
                </c:pt>
                <c:pt idx="454">
                  <c:v>4</c:v>
                </c:pt>
                <c:pt idx="455">
                  <c:v>6</c:v>
                </c:pt>
                <c:pt idx="456">
                  <c:v>4</c:v>
                </c:pt>
                <c:pt idx="457">
                  <c:v>0</c:v>
                </c:pt>
                <c:pt idx="458">
                  <c:v>0</c:v>
                </c:pt>
                <c:pt idx="459">
                  <c:v>2</c:v>
                </c:pt>
                <c:pt idx="460">
                  <c:v>5</c:v>
                </c:pt>
                <c:pt idx="461">
                  <c:v>4</c:v>
                </c:pt>
                <c:pt idx="462">
                  <c:v>3</c:v>
                </c:pt>
                <c:pt idx="463">
                  <c:v>5</c:v>
                </c:pt>
                <c:pt idx="464">
                  <c:v>4</c:v>
                </c:pt>
                <c:pt idx="465">
                  <c:v>2</c:v>
                </c:pt>
                <c:pt idx="466">
                  <c:v>2</c:v>
                </c:pt>
                <c:pt idx="467">
                  <c:v>2</c:v>
                </c:pt>
                <c:pt idx="468">
                  <c:v>1</c:v>
                </c:pt>
                <c:pt idx="469">
                  <c:v>3</c:v>
                </c:pt>
                <c:pt idx="470">
                  <c:v>2</c:v>
                </c:pt>
                <c:pt idx="471">
                  <c:v>5</c:v>
                </c:pt>
                <c:pt idx="472">
                  <c:v>6</c:v>
                </c:pt>
                <c:pt idx="473">
                  <c:v>1</c:v>
                </c:pt>
                <c:pt idx="474">
                  <c:v>1</c:v>
                </c:pt>
                <c:pt idx="475">
                  <c:v>5</c:v>
                </c:pt>
                <c:pt idx="476">
                  <c:v>0</c:v>
                </c:pt>
                <c:pt idx="477">
                  <c:v>0</c:v>
                </c:pt>
                <c:pt idx="478">
                  <c:v>1</c:v>
                </c:pt>
                <c:pt idx="479">
                  <c:v>1</c:v>
                </c:pt>
                <c:pt idx="480">
                  <c:v>4</c:v>
                </c:pt>
                <c:pt idx="481">
                  <c:v>1</c:v>
                </c:pt>
                <c:pt idx="482">
                  <c:v>0</c:v>
                </c:pt>
                <c:pt idx="483">
                  <c:v>1</c:v>
                </c:pt>
                <c:pt idx="484">
                  <c:v>1</c:v>
                </c:pt>
                <c:pt idx="485">
                  <c:v>4</c:v>
                </c:pt>
                <c:pt idx="486">
                  <c:v>0</c:v>
                </c:pt>
                <c:pt idx="487">
                  <c:v>2</c:v>
                </c:pt>
                <c:pt idx="488">
                  <c:v>0</c:v>
                </c:pt>
                <c:pt idx="489">
                  <c:v>0</c:v>
                </c:pt>
                <c:pt idx="490">
                  <c:v>3</c:v>
                </c:pt>
                <c:pt idx="491">
                  <c:v>0</c:v>
                </c:pt>
                <c:pt idx="492">
                  <c:v>3</c:v>
                </c:pt>
                <c:pt idx="493">
                  <c:v>1</c:v>
                </c:pt>
                <c:pt idx="494">
                  <c:v>0</c:v>
                </c:pt>
                <c:pt idx="495">
                  <c:v>1</c:v>
                </c:pt>
                <c:pt idx="496">
                  <c:v>0</c:v>
                </c:pt>
                <c:pt idx="497">
                  <c:v>1</c:v>
                </c:pt>
                <c:pt idx="498">
                  <c:v>1</c:v>
                </c:pt>
                <c:pt idx="499">
                  <c:v>0</c:v>
                </c:pt>
                <c:pt idx="500">
                  <c:v>1</c:v>
                </c:pt>
                <c:pt idx="501">
                  <c:v>0</c:v>
                </c:pt>
                <c:pt idx="502">
                  <c:v>1</c:v>
                </c:pt>
                <c:pt idx="503">
                  <c:v>1</c:v>
                </c:pt>
                <c:pt idx="504">
                  <c:v>0</c:v>
                </c:pt>
                <c:pt idx="505">
                  <c:v>0</c:v>
                </c:pt>
                <c:pt idx="506">
                  <c:v>3</c:v>
                </c:pt>
                <c:pt idx="507">
                  <c:v>1</c:v>
                </c:pt>
                <c:pt idx="508">
                  <c:v>1</c:v>
                </c:pt>
                <c:pt idx="509">
                  <c:v>3</c:v>
                </c:pt>
                <c:pt idx="510">
                  <c:v>0</c:v>
                </c:pt>
                <c:pt idx="511">
                  <c:v>1</c:v>
                </c:pt>
                <c:pt idx="512">
                  <c:v>0</c:v>
                </c:pt>
                <c:pt idx="513">
                  <c:v>1</c:v>
                </c:pt>
                <c:pt idx="514">
                  <c:v>1</c:v>
                </c:pt>
                <c:pt idx="515">
                  <c:v>2</c:v>
                </c:pt>
                <c:pt idx="516">
                  <c:v>0</c:v>
                </c:pt>
                <c:pt idx="517">
                  <c:v>1</c:v>
                </c:pt>
                <c:pt idx="518">
                  <c:v>5</c:v>
                </c:pt>
                <c:pt idx="519">
                  <c:v>2</c:v>
                </c:pt>
                <c:pt idx="520">
                  <c:v>2</c:v>
                </c:pt>
                <c:pt idx="521">
                  <c:v>1</c:v>
                </c:pt>
                <c:pt idx="522">
                  <c:v>4</c:v>
                </c:pt>
                <c:pt idx="523">
                  <c:v>0</c:v>
                </c:pt>
                <c:pt idx="524">
                  <c:v>3</c:v>
                </c:pt>
                <c:pt idx="525">
                  <c:v>3</c:v>
                </c:pt>
                <c:pt idx="526">
                  <c:v>2</c:v>
                </c:pt>
                <c:pt idx="527">
                  <c:v>1</c:v>
                </c:pt>
                <c:pt idx="528">
                  <c:v>2</c:v>
                </c:pt>
                <c:pt idx="529">
                  <c:v>3</c:v>
                </c:pt>
                <c:pt idx="530">
                  <c:v>1</c:v>
                </c:pt>
                <c:pt idx="531">
                  <c:v>3</c:v>
                </c:pt>
                <c:pt idx="532">
                  <c:v>3</c:v>
                </c:pt>
                <c:pt idx="533">
                  <c:v>3</c:v>
                </c:pt>
                <c:pt idx="534">
                  <c:v>2</c:v>
                </c:pt>
                <c:pt idx="535">
                  <c:v>3</c:v>
                </c:pt>
                <c:pt idx="536">
                  <c:v>1</c:v>
                </c:pt>
                <c:pt idx="537">
                  <c:v>4</c:v>
                </c:pt>
                <c:pt idx="538">
                  <c:v>4</c:v>
                </c:pt>
                <c:pt idx="539">
                  <c:v>2</c:v>
                </c:pt>
                <c:pt idx="540">
                  <c:v>2</c:v>
                </c:pt>
                <c:pt idx="541">
                  <c:v>2</c:v>
                </c:pt>
                <c:pt idx="542">
                  <c:v>3</c:v>
                </c:pt>
                <c:pt idx="543">
                  <c:v>2</c:v>
                </c:pt>
                <c:pt idx="544">
                  <c:v>1</c:v>
                </c:pt>
                <c:pt idx="545">
                  <c:v>3</c:v>
                </c:pt>
                <c:pt idx="546">
                  <c:v>2</c:v>
                </c:pt>
                <c:pt idx="547">
                  <c:v>3</c:v>
                </c:pt>
                <c:pt idx="548">
                  <c:v>4</c:v>
                </c:pt>
                <c:pt idx="549">
                  <c:v>3</c:v>
                </c:pt>
                <c:pt idx="550">
                  <c:v>1</c:v>
                </c:pt>
                <c:pt idx="551">
                  <c:v>1</c:v>
                </c:pt>
                <c:pt idx="552">
                  <c:v>1</c:v>
                </c:pt>
                <c:pt idx="553">
                  <c:v>5</c:v>
                </c:pt>
                <c:pt idx="554">
                  <c:v>2</c:v>
                </c:pt>
                <c:pt idx="555">
                  <c:v>5</c:v>
                </c:pt>
                <c:pt idx="55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151905390317288E-2"/>
          <c:y val="3.5493880780117011E-2"/>
          <c:w val="0.9259736925366634"/>
          <c:h val="0.804911412298308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75</c:f>
              <c:numCache>
                <c:formatCode>m/d/yyyy</c:formatCode>
                <c:ptCount val="474"/>
                <c:pt idx="1">
                  <c:v>44075</c:v>
                </c:pt>
                <c:pt idx="2">
                  <c:v>44078</c:v>
                </c:pt>
                <c:pt idx="3">
                  <c:v>44082</c:v>
                </c:pt>
                <c:pt idx="4">
                  <c:v>44083</c:v>
                </c:pt>
                <c:pt idx="5">
                  <c:v>44084</c:v>
                </c:pt>
                <c:pt idx="6">
                  <c:v>44085</c:v>
                </c:pt>
                <c:pt idx="7">
                  <c:v>44086</c:v>
                </c:pt>
                <c:pt idx="8">
                  <c:v>44087</c:v>
                </c:pt>
                <c:pt idx="9">
                  <c:v>44088</c:v>
                </c:pt>
                <c:pt idx="10">
                  <c:v>44089</c:v>
                </c:pt>
                <c:pt idx="11">
                  <c:v>44090</c:v>
                </c:pt>
                <c:pt idx="12">
                  <c:v>44091</c:v>
                </c:pt>
                <c:pt idx="13">
                  <c:v>44092</c:v>
                </c:pt>
                <c:pt idx="14">
                  <c:v>44093</c:v>
                </c:pt>
                <c:pt idx="15">
                  <c:v>44094</c:v>
                </c:pt>
                <c:pt idx="16">
                  <c:v>44095</c:v>
                </c:pt>
                <c:pt idx="17">
                  <c:v>44096</c:v>
                </c:pt>
                <c:pt idx="18">
                  <c:v>44097</c:v>
                </c:pt>
                <c:pt idx="19">
                  <c:v>44098</c:v>
                </c:pt>
                <c:pt idx="20">
                  <c:v>44099</c:v>
                </c:pt>
                <c:pt idx="21">
                  <c:v>44100</c:v>
                </c:pt>
                <c:pt idx="22">
                  <c:v>44101</c:v>
                </c:pt>
                <c:pt idx="23">
                  <c:v>44102</c:v>
                </c:pt>
                <c:pt idx="24">
                  <c:v>44103</c:v>
                </c:pt>
                <c:pt idx="25">
                  <c:v>44104</c:v>
                </c:pt>
                <c:pt idx="26">
                  <c:v>44105</c:v>
                </c:pt>
                <c:pt idx="27">
                  <c:v>44106</c:v>
                </c:pt>
                <c:pt idx="28">
                  <c:v>44107</c:v>
                </c:pt>
                <c:pt idx="29">
                  <c:v>44108</c:v>
                </c:pt>
                <c:pt idx="30">
                  <c:v>44109</c:v>
                </c:pt>
                <c:pt idx="31">
                  <c:v>44110</c:v>
                </c:pt>
                <c:pt idx="32">
                  <c:v>44111</c:v>
                </c:pt>
                <c:pt idx="33">
                  <c:v>44112</c:v>
                </c:pt>
                <c:pt idx="34">
                  <c:v>44113</c:v>
                </c:pt>
                <c:pt idx="35">
                  <c:v>44114</c:v>
                </c:pt>
                <c:pt idx="36">
                  <c:v>44115</c:v>
                </c:pt>
                <c:pt idx="37">
                  <c:v>44116</c:v>
                </c:pt>
                <c:pt idx="38">
                  <c:v>44117</c:v>
                </c:pt>
                <c:pt idx="39">
                  <c:v>44118</c:v>
                </c:pt>
                <c:pt idx="40">
                  <c:v>44119</c:v>
                </c:pt>
                <c:pt idx="41">
                  <c:v>44120</c:v>
                </c:pt>
                <c:pt idx="42">
                  <c:v>44121</c:v>
                </c:pt>
                <c:pt idx="43">
                  <c:v>44122</c:v>
                </c:pt>
                <c:pt idx="44">
                  <c:v>44123</c:v>
                </c:pt>
                <c:pt idx="45">
                  <c:v>44124</c:v>
                </c:pt>
                <c:pt idx="46">
                  <c:v>44125</c:v>
                </c:pt>
                <c:pt idx="47">
                  <c:v>44126</c:v>
                </c:pt>
                <c:pt idx="48">
                  <c:v>44127</c:v>
                </c:pt>
                <c:pt idx="49">
                  <c:v>44128</c:v>
                </c:pt>
                <c:pt idx="50">
                  <c:v>44129</c:v>
                </c:pt>
                <c:pt idx="51">
                  <c:v>44130</c:v>
                </c:pt>
                <c:pt idx="52">
                  <c:v>44131</c:v>
                </c:pt>
                <c:pt idx="53">
                  <c:v>44132</c:v>
                </c:pt>
                <c:pt idx="54">
                  <c:v>44133</c:v>
                </c:pt>
                <c:pt idx="55">
                  <c:v>44134</c:v>
                </c:pt>
                <c:pt idx="56">
                  <c:v>44135</c:v>
                </c:pt>
                <c:pt idx="57">
                  <c:v>44136</c:v>
                </c:pt>
                <c:pt idx="58">
                  <c:v>44137</c:v>
                </c:pt>
                <c:pt idx="59">
                  <c:v>44138</c:v>
                </c:pt>
                <c:pt idx="60">
                  <c:v>44139</c:v>
                </c:pt>
                <c:pt idx="61">
                  <c:v>44140</c:v>
                </c:pt>
                <c:pt idx="62">
                  <c:v>44141</c:v>
                </c:pt>
                <c:pt idx="63">
                  <c:v>44142</c:v>
                </c:pt>
                <c:pt idx="64">
                  <c:v>44143</c:v>
                </c:pt>
                <c:pt idx="65">
                  <c:v>44144</c:v>
                </c:pt>
                <c:pt idx="66">
                  <c:v>44145</c:v>
                </c:pt>
                <c:pt idx="67">
                  <c:v>44146</c:v>
                </c:pt>
                <c:pt idx="68">
                  <c:v>44147</c:v>
                </c:pt>
                <c:pt idx="69">
                  <c:v>44148</c:v>
                </c:pt>
                <c:pt idx="70">
                  <c:v>44149</c:v>
                </c:pt>
                <c:pt idx="71">
                  <c:v>44150</c:v>
                </c:pt>
                <c:pt idx="72">
                  <c:v>44151</c:v>
                </c:pt>
                <c:pt idx="73">
                  <c:v>44152</c:v>
                </c:pt>
                <c:pt idx="74">
                  <c:v>44153</c:v>
                </c:pt>
                <c:pt idx="75">
                  <c:v>44154</c:v>
                </c:pt>
                <c:pt idx="76">
                  <c:v>44155</c:v>
                </c:pt>
                <c:pt idx="77">
                  <c:v>44156</c:v>
                </c:pt>
                <c:pt idx="78">
                  <c:v>44157</c:v>
                </c:pt>
                <c:pt idx="79">
                  <c:v>44158</c:v>
                </c:pt>
                <c:pt idx="80">
                  <c:v>44159</c:v>
                </c:pt>
                <c:pt idx="81">
                  <c:v>44160</c:v>
                </c:pt>
                <c:pt idx="82">
                  <c:v>44161</c:v>
                </c:pt>
                <c:pt idx="83">
                  <c:v>44162</c:v>
                </c:pt>
                <c:pt idx="84">
                  <c:v>44163</c:v>
                </c:pt>
                <c:pt idx="85">
                  <c:v>44164</c:v>
                </c:pt>
                <c:pt idx="86">
                  <c:v>44165</c:v>
                </c:pt>
                <c:pt idx="87">
                  <c:v>44166</c:v>
                </c:pt>
                <c:pt idx="88">
                  <c:v>44167</c:v>
                </c:pt>
                <c:pt idx="89">
                  <c:v>44168</c:v>
                </c:pt>
                <c:pt idx="90">
                  <c:v>44169</c:v>
                </c:pt>
                <c:pt idx="91">
                  <c:v>44170</c:v>
                </c:pt>
                <c:pt idx="92">
                  <c:v>44171</c:v>
                </c:pt>
                <c:pt idx="93">
                  <c:v>44172</c:v>
                </c:pt>
                <c:pt idx="94">
                  <c:v>44173</c:v>
                </c:pt>
                <c:pt idx="95">
                  <c:v>44174</c:v>
                </c:pt>
                <c:pt idx="96">
                  <c:v>44175</c:v>
                </c:pt>
                <c:pt idx="97">
                  <c:v>44176</c:v>
                </c:pt>
                <c:pt idx="98">
                  <c:v>44177</c:v>
                </c:pt>
                <c:pt idx="99">
                  <c:v>44178</c:v>
                </c:pt>
                <c:pt idx="100">
                  <c:v>44179</c:v>
                </c:pt>
                <c:pt idx="101">
                  <c:v>44180</c:v>
                </c:pt>
                <c:pt idx="102">
                  <c:v>44181</c:v>
                </c:pt>
                <c:pt idx="103">
                  <c:v>44182</c:v>
                </c:pt>
                <c:pt idx="104">
                  <c:v>44183</c:v>
                </c:pt>
                <c:pt idx="105">
                  <c:v>44184</c:v>
                </c:pt>
                <c:pt idx="106">
                  <c:v>44185</c:v>
                </c:pt>
                <c:pt idx="107">
                  <c:v>44186</c:v>
                </c:pt>
                <c:pt idx="108">
                  <c:v>44187</c:v>
                </c:pt>
                <c:pt idx="109">
                  <c:v>44188</c:v>
                </c:pt>
                <c:pt idx="110">
                  <c:v>44189</c:v>
                </c:pt>
                <c:pt idx="111">
                  <c:v>44190</c:v>
                </c:pt>
                <c:pt idx="112">
                  <c:v>44191</c:v>
                </c:pt>
                <c:pt idx="113">
                  <c:v>44192</c:v>
                </c:pt>
                <c:pt idx="114">
                  <c:v>44193</c:v>
                </c:pt>
                <c:pt idx="115">
                  <c:v>44194</c:v>
                </c:pt>
                <c:pt idx="116">
                  <c:v>44195</c:v>
                </c:pt>
                <c:pt idx="117">
                  <c:v>44196</c:v>
                </c:pt>
                <c:pt idx="118">
                  <c:v>44197</c:v>
                </c:pt>
                <c:pt idx="119">
                  <c:v>44198</c:v>
                </c:pt>
                <c:pt idx="120">
                  <c:v>44199</c:v>
                </c:pt>
                <c:pt idx="121">
                  <c:v>44200</c:v>
                </c:pt>
                <c:pt idx="122">
                  <c:v>44201</c:v>
                </c:pt>
                <c:pt idx="123">
                  <c:v>44202</c:v>
                </c:pt>
                <c:pt idx="124">
                  <c:v>44203</c:v>
                </c:pt>
                <c:pt idx="125">
                  <c:v>44204</c:v>
                </c:pt>
                <c:pt idx="126">
                  <c:v>44205</c:v>
                </c:pt>
                <c:pt idx="127">
                  <c:v>44206</c:v>
                </c:pt>
                <c:pt idx="128">
                  <c:v>44207</c:v>
                </c:pt>
                <c:pt idx="129">
                  <c:v>44208</c:v>
                </c:pt>
                <c:pt idx="130">
                  <c:v>44209</c:v>
                </c:pt>
                <c:pt idx="131">
                  <c:v>44210</c:v>
                </c:pt>
                <c:pt idx="132">
                  <c:v>44211</c:v>
                </c:pt>
                <c:pt idx="133">
                  <c:v>44212</c:v>
                </c:pt>
                <c:pt idx="134">
                  <c:v>44213</c:v>
                </c:pt>
                <c:pt idx="135">
                  <c:v>44214</c:v>
                </c:pt>
                <c:pt idx="136">
                  <c:v>44215</c:v>
                </c:pt>
                <c:pt idx="137">
                  <c:v>44216</c:v>
                </c:pt>
                <c:pt idx="138">
                  <c:v>44217</c:v>
                </c:pt>
                <c:pt idx="139">
                  <c:v>44218</c:v>
                </c:pt>
                <c:pt idx="140">
                  <c:v>44219</c:v>
                </c:pt>
                <c:pt idx="141">
                  <c:v>44220</c:v>
                </c:pt>
                <c:pt idx="142">
                  <c:v>44221</c:v>
                </c:pt>
                <c:pt idx="143">
                  <c:v>44222</c:v>
                </c:pt>
                <c:pt idx="144">
                  <c:v>44223</c:v>
                </c:pt>
                <c:pt idx="145">
                  <c:v>44224</c:v>
                </c:pt>
                <c:pt idx="146">
                  <c:v>44225</c:v>
                </c:pt>
                <c:pt idx="147">
                  <c:v>44226</c:v>
                </c:pt>
                <c:pt idx="148">
                  <c:v>44227</c:v>
                </c:pt>
                <c:pt idx="149">
                  <c:v>44228</c:v>
                </c:pt>
                <c:pt idx="150">
                  <c:v>44229</c:v>
                </c:pt>
                <c:pt idx="151">
                  <c:v>44230</c:v>
                </c:pt>
                <c:pt idx="152">
                  <c:v>44231</c:v>
                </c:pt>
                <c:pt idx="153">
                  <c:v>44232</c:v>
                </c:pt>
                <c:pt idx="154">
                  <c:v>44233</c:v>
                </c:pt>
                <c:pt idx="155">
                  <c:v>44234</c:v>
                </c:pt>
                <c:pt idx="156">
                  <c:v>44235</c:v>
                </c:pt>
                <c:pt idx="157">
                  <c:v>44236</c:v>
                </c:pt>
                <c:pt idx="158">
                  <c:v>44237</c:v>
                </c:pt>
                <c:pt idx="159">
                  <c:v>44238</c:v>
                </c:pt>
                <c:pt idx="160">
                  <c:v>44239</c:v>
                </c:pt>
                <c:pt idx="161">
                  <c:v>44240</c:v>
                </c:pt>
                <c:pt idx="162">
                  <c:v>44241</c:v>
                </c:pt>
                <c:pt idx="163">
                  <c:v>44242</c:v>
                </c:pt>
                <c:pt idx="164">
                  <c:v>44243</c:v>
                </c:pt>
                <c:pt idx="165">
                  <c:v>44244</c:v>
                </c:pt>
                <c:pt idx="166">
                  <c:v>44245</c:v>
                </c:pt>
                <c:pt idx="167">
                  <c:v>44246</c:v>
                </c:pt>
                <c:pt idx="168">
                  <c:v>44247</c:v>
                </c:pt>
                <c:pt idx="169">
                  <c:v>44248</c:v>
                </c:pt>
                <c:pt idx="170">
                  <c:v>44249</c:v>
                </c:pt>
                <c:pt idx="171">
                  <c:v>44250</c:v>
                </c:pt>
                <c:pt idx="172">
                  <c:v>44251</c:v>
                </c:pt>
                <c:pt idx="173">
                  <c:v>44252</c:v>
                </c:pt>
                <c:pt idx="174">
                  <c:v>44253</c:v>
                </c:pt>
                <c:pt idx="175">
                  <c:v>44254</c:v>
                </c:pt>
                <c:pt idx="176">
                  <c:v>44255</c:v>
                </c:pt>
                <c:pt idx="177">
                  <c:v>44256</c:v>
                </c:pt>
                <c:pt idx="178">
                  <c:v>44257</c:v>
                </c:pt>
                <c:pt idx="179">
                  <c:v>44258</c:v>
                </c:pt>
                <c:pt idx="180">
                  <c:v>44259</c:v>
                </c:pt>
                <c:pt idx="181">
                  <c:v>44260</c:v>
                </c:pt>
                <c:pt idx="182">
                  <c:v>44261</c:v>
                </c:pt>
                <c:pt idx="183">
                  <c:v>44262</c:v>
                </c:pt>
                <c:pt idx="184">
                  <c:v>44263</c:v>
                </c:pt>
                <c:pt idx="185">
                  <c:v>44264</c:v>
                </c:pt>
                <c:pt idx="186">
                  <c:v>44265</c:v>
                </c:pt>
                <c:pt idx="187">
                  <c:v>44266</c:v>
                </c:pt>
                <c:pt idx="188">
                  <c:v>44267</c:v>
                </c:pt>
                <c:pt idx="189">
                  <c:v>44268</c:v>
                </c:pt>
                <c:pt idx="190">
                  <c:v>44269</c:v>
                </c:pt>
                <c:pt idx="191">
                  <c:v>44270</c:v>
                </c:pt>
                <c:pt idx="192">
                  <c:v>44271</c:v>
                </c:pt>
                <c:pt idx="193">
                  <c:v>44272</c:v>
                </c:pt>
                <c:pt idx="194">
                  <c:v>44273</c:v>
                </c:pt>
                <c:pt idx="195">
                  <c:v>44274</c:v>
                </c:pt>
                <c:pt idx="196">
                  <c:v>44275</c:v>
                </c:pt>
                <c:pt idx="197">
                  <c:v>44276</c:v>
                </c:pt>
                <c:pt idx="198">
                  <c:v>44277</c:v>
                </c:pt>
                <c:pt idx="199">
                  <c:v>44278</c:v>
                </c:pt>
                <c:pt idx="200">
                  <c:v>44279</c:v>
                </c:pt>
                <c:pt idx="201">
                  <c:v>44280</c:v>
                </c:pt>
                <c:pt idx="202">
                  <c:v>44281</c:v>
                </c:pt>
                <c:pt idx="203">
                  <c:v>44282</c:v>
                </c:pt>
                <c:pt idx="204">
                  <c:v>44283</c:v>
                </c:pt>
                <c:pt idx="205">
                  <c:v>44284</c:v>
                </c:pt>
                <c:pt idx="206">
                  <c:v>44285</c:v>
                </c:pt>
                <c:pt idx="207">
                  <c:v>44286</c:v>
                </c:pt>
                <c:pt idx="208">
                  <c:v>44287</c:v>
                </c:pt>
                <c:pt idx="209">
                  <c:v>44288</c:v>
                </c:pt>
                <c:pt idx="210">
                  <c:v>44289</c:v>
                </c:pt>
                <c:pt idx="211">
                  <c:v>44290</c:v>
                </c:pt>
                <c:pt idx="212">
                  <c:v>44291</c:v>
                </c:pt>
                <c:pt idx="213">
                  <c:v>44292</c:v>
                </c:pt>
                <c:pt idx="214">
                  <c:v>44293</c:v>
                </c:pt>
                <c:pt idx="215">
                  <c:v>44294</c:v>
                </c:pt>
                <c:pt idx="216">
                  <c:v>44295</c:v>
                </c:pt>
                <c:pt idx="217">
                  <c:v>44296</c:v>
                </c:pt>
                <c:pt idx="218">
                  <c:v>44297</c:v>
                </c:pt>
                <c:pt idx="219">
                  <c:v>44298</c:v>
                </c:pt>
                <c:pt idx="220">
                  <c:v>44299</c:v>
                </c:pt>
                <c:pt idx="221">
                  <c:v>44300</c:v>
                </c:pt>
                <c:pt idx="222">
                  <c:v>44301</c:v>
                </c:pt>
                <c:pt idx="223">
                  <c:v>44302</c:v>
                </c:pt>
                <c:pt idx="224">
                  <c:v>44303</c:v>
                </c:pt>
                <c:pt idx="225">
                  <c:v>44304</c:v>
                </c:pt>
                <c:pt idx="226">
                  <c:v>44305</c:v>
                </c:pt>
                <c:pt idx="227">
                  <c:v>44306</c:v>
                </c:pt>
                <c:pt idx="228">
                  <c:v>44307</c:v>
                </c:pt>
                <c:pt idx="229">
                  <c:v>44308</c:v>
                </c:pt>
                <c:pt idx="230">
                  <c:v>44309</c:v>
                </c:pt>
                <c:pt idx="231">
                  <c:v>44310</c:v>
                </c:pt>
                <c:pt idx="232">
                  <c:v>44312</c:v>
                </c:pt>
                <c:pt idx="233">
                  <c:v>44313</c:v>
                </c:pt>
                <c:pt idx="234">
                  <c:v>44314</c:v>
                </c:pt>
                <c:pt idx="235">
                  <c:v>44315</c:v>
                </c:pt>
                <c:pt idx="236">
                  <c:v>44316</c:v>
                </c:pt>
                <c:pt idx="237">
                  <c:v>44318</c:v>
                </c:pt>
                <c:pt idx="238">
                  <c:v>44319</c:v>
                </c:pt>
                <c:pt idx="239">
                  <c:v>44320</c:v>
                </c:pt>
                <c:pt idx="240">
                  <c:v>44321</c:v>
                </c:pt>
                <c:pt idx="241">
                  <c:v>44322</c:v>
                </c:pt>
                <c:pt idx="242">
                  <c:v>44323</c:v>
                </c:pt>
                <c:pt idx="243">
                  <c:v>44324</c:v>
                </c:pt>
                <c:pt idx="244">
                  <c:v>44325</c:v>
                </c:pt>
                <c:pt idx="245">
                  <c:v>44326</c:v>
                </c:pt>
                <c:pt idx="246">
                  <c:v>44327</c:v>
                </c:pt>
                <c:pt idx="247">
                  <c:v>44329</c:v>
                </c:pt>
                <c:pt idx="248">
                  <c:v>44330</c:v>
                </c:pt>
                <c:pt idx="249">
                  <c:v>44331</c:v>
                </c:pt>
                <c:pt idx="250">
                  <c:v>44333</c:v>
                </c:pt>
                <c:pt idx="251">
                  <c:v>44334</c:v>
                </c:pt>
                <c:pt idx="252">
                  <c:v>44335</c:v>
                </c:pt>
                <c:pt idx="253">
                  <c:v>44336</c:v>
                </c:pt>
                <c:pt idx="254">
                  <c:v>44337</c:v>
                </c:pt>
                <c:pt idx="255">
                  <c:v>44340</c:v>
                </c:pt>
                <c:pt idx="256">
                  <c:v>44341</c:v>
                </c:pt>
                <c:pt idx="257">
                  <c:v>44342</c:v>
                </c:pt>
                <c:pt idx="258">
                  <c:v>44343</c:v>
                </c:pt>
                <c:pt idx="259">
                  <c:v>44347</c:v>
                </c:pt>
                <c:pt idx="260">
                  <c:v>44349</c:v>
                </c:pt>
                <c:pt idx="261">
                  <c:v>44350</c:v>
                </c:pt>
                <c:pt idx="262">
                  <c:v>44354</c:v>
                </c:pt>
                <c:pt idx="263">
                  <c:v>44358</c:v>
                </c:pt>
                <c:pt idx="264">
                  <c:v>44359</c:v>
                </c:pt>
                <c:pt idx="265">
                  <c:v>44364</c:v>
                </c:pt>
                <c:pt idx="266">
                  <c:v>44370</c:v>
                </c:pt>
                <c:pt idx="267">
                  <c:v>44371</c:v>
                </c:pt>
                <c:pt idx="268">
                  <c:v>44375</c:v>
                </c:pt>
                <c:pt idx="269">
                  <c:v>44377</c:v>
                </c:pt>
                <c:pt idx="270">
                  <c:v>44378</c:v>
                </c:pt>
                <c:pt idx="271">
                  <c:v>44381</c:v>
                </c:pt>
                <c:pt idx="272">
                  <c:v>44383</c:v>
                </c:pt>
                <c:pt idx="273">
                  <c:v>44384</c:v>
                </c:pt>
                <c:pt idx="274">
                  <c:v>44385</c:v>
                </c:pt>
                <c:pt idx="275">
                  <c:v>44388</c:v>
                </c:pt>
                <c:pt idx="276">
                  <c:v>44398</c:v>
                </c:pt>
                <c:pt idx="277">
                  <c:v>44401</c:v>
                </c:pt>
                <c:pt idx="278">
                  <c:v>44404</c:v>
                </c:pt>
                <c:pt idx="279">
                  <c:v>44405</c:v>
                </c:pt>
                <c:pt idx="280">
                  <c:v>44407</c:v>
                </c:pt>
                <c:pt idx="281">
                  <c:v>44416</c:v>
                </c:pt>
                <c:pt idx="282">
                  <c:v>44419</c:v>
                </c:pt>
                <c:pt idx="283">
                  <c:v>44424</c:v>
                </c:pt>
                <c:pt idx="284">
                  <c:v>44425</c:v>
                </c:pt>
                <c:pt idx="285">
                  <c:v>44427</c:v>
                </c:pt>
                <c:pt idx="286">
                  <c:v>44431</c:v>
                </c:pt>
                <c:pt idx="287">
                  <c:v>44434</c:v>
                </c:pt>
                <c:pt idx="288">
                  <c:v>44435</c:v>
                </c:pt>
                <c:pt idx="289">
                  <c:v>44436</c:v>
                </c:pt>
                <c:pt idx="290">
                  <c:v>44437</c:v>
                </c:pt>
                <c:pt idx="291">
                  <c:v>44440</c:v>
                </c:pt>
                <c:pt idx="292">
                  <c:v>44441</c:v>
                </c:pt>
                <c:pt idx="293">
                  <c:v>44442</c:v>
                </c:pt>
                <c:pt idx="294">
                  <c:v>44443</c:v>
                </c:pt>
                <c:pt idx="295">
                  <c:v>44445</c:v>
                </c:pt>
                <c:pt idx="296">
                  <c:v>44446</c:v>
                </c:pt>
                <c:pt idx="297">
                  <c:v>44447</c:v>
                </c:pt>
                <c:pt idx="298">
                  <c:v>44448</c:v>
                </c:pt>
                <c:pt idx="299">
                  <c:v>44449</c:v>
                </c:pt>
                <c:pt idx="300">
                  <c:v>44451</c:v>
                </c:pt>
                <c:pt idx="301">
                  <c:v>44452</c:v>
                </c:pt>
                <c:pt idx="302">
                  <c:v>44453</c:v>
                </c:pt>
                <c:pt idx="303">
                  <c:v>44457</c:v>
                </c:pt>
                <c:pt idx="304">
                  <c:v>44459</c:v>
                </c:pt>
                <c:pt idx="305">
                  <c:v>44460</c:v>
                </c:pt>
                <c:pt idx="306">
                  <c:v>44461</c:v>
                </c:pt>
                <c:pt idx="307">
                  <c:v>44464</c:v>
                </c:pt>
                <c:pt idx="308">
                  <c:v>44465</c:v>
                </c:pt>
                <c:pt idx="309">
                  <c:v>44466</c:v>
                </c:pt>
                <c:pt idx="310">
                  <c:v>44467</c:v>
                </c:pt>
                <c:pt idx="311">
                  <c:v>44468</c:v>
                </c:pt>
                <c:pt idx="312">
                  <c:v>44469</c:v>
                </c:pt>
                <c:pt idx="313">
                  <c:v>44470</c:v>
                </c:pt>
                <c:pt idx="314">
                  <c:v>44471</c:v>
                </c:pt>
                <c:pt idx="315">
                  <c:v>44472</c:v>
                </c:pt>
                <c:pt idx="316">
                  <c:v>44473</c:v>
                </c:pt>
                <c:pt idx="317">
                  <c:v>44474</c:v>
                </c:pt>
                <c:pt idx="318">
                  <c:v>44475</c:v>
                </c:pt>
                <c:pt idx="319">
                  <c:v>44476</c:v>
                </c:pt>
                <c:pt idx="320">
                  <c:v>44477</c:v>
                </c:pt>
                <c:pt idx="321">
                  <c:v>44478</c:v>
                </c:pt>
                <c:pt idx="322">
                  <c:v>44480</c:v>
                </c:pt>
                <c:pt idx="323">
                  <c:v>44481</c:v>
                </c:pt>
                <c:pt idx="324">
                  <c:v>44482</c:v>
                </c:pt>
                <c:pt idx="325">
                  <c:v>44483</c:v>
                </c:pt>
                <c:pt idx="326">
                  <c:v>44484</c:v>
                </c:pt>
                <c:pt idx="327">
                  <c:v>44485</c:v>
                </c:pt>
                <c:pt idx="328">
                  <c:v>44486</c:v>
                </c:pt>
                <c:pt idx="329">
                  <c:v>44487</c:v>
                </c:pt>
                <c:pt idx="330">
                  <c:v>44488</c:v>
                </c:pt>
                <c:pt idx="331">
                  <c:v>44489</c:v>
                </c:pt>
                <c:pt idx="332">
                  <c:v>44490</c:v>
                </c:pt>
                <c:pt idx="333">
                  <c:v>44491</c:v>
                </c:pt>
                <c:pt idx="334">
                  <c:v>44492</c:v>
                </c:pt>
                <c:pt idx="335">
                  <c:v>44493</c:v>
                </c:pt>
                <c:pt idx="336">
                  <c:v>44494</c:v>
                </c:pt>
                <c:pt idx="337">
                  <c:v>44495</c:v>
                </c:pt>
                <c:pt idx="338">
                  <c:v>44496</c:v>
                </c:pt>
                <c:pt idx="339">
                  <c:v>44497</c:v>
                </c:pt>
                <c:pt idx="340">
                  <c:v>44498</c:v>
                </c:pt>
                <c:pt idx="341">
                  <c:v>44499</c:v>
                </c:pt>
                <c:pt idx="342">
                  <c:v>44500</c:v>
                </c:pt>
                <c:pt idx="343">
                  <c:v>44501</c:v>
                </c:pt>
                <c:pt idx="344">
                  <c:v>44502</c:v>
                </c:pt>
                <c:pt idx="345">
                  <c:v>44503</c:v>
                </c:pt>
                <c:pt idx="346">
                  <c:v>44504</c:v>
                </c:pt>
                <c:pt idx="347">
                  <c:v>44505</c:v>
                </c:pt>
                <c:pt idx="348">
                  <c:v>44506</c:v>
                </c:pt>
                <c:pt idx="349">
                  <c:v>44507</c:v>
                </c:pt>
                <c:pt idx="350">
                  <c:v>44508</c:v>
                </c:pt>
                <c:pt idx="351">
                  <c:v>44509</c:v>
                </c:pt>
                <c:pt idx="352">
                  <c:v>44510</c:v>
                </c:pt>
                <c:pt idx="353">
                  <c:v>44511</c:v>
                </c:pt>
                <c:pt idx="354">
                  <c:v>44512</c:v>
                </c:pt>
                <c:pt idx="355">
                  <c:v>44513</c:v>
                </c:pt>
                <c:pt idx="356">
                  <c:v>44514</c:v>
                </c:pt>
                <c:pt idx="357">
                  <c:v>44515</c:v>
                </c:pt>
                <c:pt idx="358">
                  <c:v>44516</c:v>
                </c:pt>
                <c:pt idx="359">
                  <c:v>44517</c:v>
                </c:pt>
                <c:pt idx="360">
                  <c:v>44518</c:v>
                </c:pt>
                <c:pt idx="361">
                  <c:v>44519</c:v>
                </c:pt>
                <c:pt idx="362">
                  <c:v>44520</c:v>
                </c:pt>
                <c:pt idx="363">
                  <c:v>44521</c:v>
                </c:pt>
                <c:pt idx="364">
                  <c:v>44522</c:v>
                </c:pt>
                <c:pt idx="365">
                  <c:v>44523</c:v>
                </c:pt>
                <c:pt idx="366">
                  <c:v>44524</c:v>
                </c:pt>
                <c:pt idx="367">
                  <c:v>44525</c:v>
                </c:pt>
                <c:pt idx="368">
                  <c:v>44526</c:v>
                </c:pt>
                <c:pt idx="369">
                  <c:v>44527</c:v>
                </c:pt>
                <c:pt idx="370">
                  <c:v>44528</c:v>
                </c:pt>
                <c:pt idx="371">
                  <c:v>44529</c:v>
                </c:pt>
                <c:pt idx="372">
                  <c:v>44530</c:v>
                </c:pt>
                <c:pt idx="373">
                  <c:v>44531</c:v>
                </c:pt>
                <c:pt idx="374">
                  <c:v>44532</c:v>
                </c:pt>
                <c:pt idx="375">
                  <c:v>44533</c:v>
                </c:pt>
                <c:pt idx="376">
                  <c:v>44534</c:v>
                </c:pt>
                <c:pt idx="377">
                  <c:v>44535</c:v>
                </c:pt>
                <c:pt idx="378">
                  <c:v>44536</c:v>
                </c:pt>
                <c:pt idx="379">
                  <c:v>44537</c:v>
                </c:pt>
                <c:pt idx="380">
                  <c:v>44538</c:v>
                </c:pt>
                <c:pt idx="381">
                  <c:v>44539</c:v>
                </c:pt>
                <c:pt idx="382">
                  <c:v>44540</c:v>
                </c:pt>
                <c:pt idx="383">
                  <c:v>44541</c:v>
                </c:pt>
                <c:pt idx="384">
                  <c:v>44542</c:v>
                </c:pt>
                <c:pt idx="385">
                  <c:v>44543</c:v>
                </c:pt>
                <c:pt idx="386">
                  <c:v>44544</c:v>
                </c:pt>
                <c:pt idx="387">
                  <c:v>44545</c:v>
                </c:pt>
                <c:pt idx="388">
                  <c:v>44546</c:v>
                </c:pt>
                <c:pt idx="389">
                  <c:v>44547</c:v>
                </c:pt>
                <c:pt idx="390">
                  <c:v>44548</c:v>
                </c:pt>
                <c:pt idx="391">
                  <c:v>44549</c:v>
                </c:pt>
                <c:pt idx="392">
                  <c:v>44550</c:v>
                </c:pt>
                <c:pt idx="393">
                  <c:v>44551</c:v>
                </c:pt>
                <c:pt idx="394">
                  <c:v>44552</c:v>
                </c:pt>
                <c:pt idx="395">
                  <c:v>44553</c:v>
                </c:pt>
                <c:pt idx="396">
                  <c:v>44554</c:v>
                </c:pt>
                <c:pt idx="397">
                  <c:v>44555</c:v>
                </c:pt>
                <c:pt idx="398">
                  <c:v>44556</c:v>
                </c:pt>
                <c:pt idx="399">
                  <c:v>44557</c:v>
                </c:pt>
                <c:pt idx="400">
                  <c:v>44558</c:v>
                </c:pt>
                <c:pt idx="401">
                  <c:v>44559</c:v>
                </c:pt>
                <c:pt idx="402">
                  <c:v>44560</c:v>
                </c:pt>
                <c:pt idx="403">
                  <c:v>44561</c:v>
                </c:pt>
                <c:pt idx="404">
                  <c:v>44562</c:v>
                </c:pt>
                <c:pt idx="405">
                  <c:v>44563</c:v>
                </c:pt>
                <c:pt idx="406">
                  <c:v>44564</c:v>
                </c:pt>
                <c:pt idx="407">
                  <c:v>44565</c:v>
                </c:pt>
                <c:pt idx="408">
                  <c:v>44566</c:v>
                </c:pt>
                <c:pt idx="409">
                  <c:v>44567</c:v>
                </c:pt>
                <c:pt idx="410">
                  <c:v>44568</c:v>
                </c:pt>
                <c:pt idx="411">
                  <c:v>44569</c:v>
                </c:pt>
                <c:pt idx="412">
                  <c:v>44570</c:v>
                </c:pt>
                <c:pt idx="413">
                  <c:v>44571</c:v>
                </c:pt>
                <c:pt idx="414">
                  <c:v>44572</c:v>
                </c:pt>
                <c:pt idx="415">
                  <c:v>44573</c:v>
                </c:pt>
                <c:pt idx="416">
                  <c:v>44574</c:v>
                </c:pt>
                <c:pt idx="417">
                  <c:v>44575</c:v>
                </c:pt>
                <c:pt idx="418">
                  <c:v>44576</c:v>
                </c:pt>
                <c:pt idx="419">
                  <c:v>44577</c:v>
                </c:pt>
                <c:pt idx="420">
                  <c:v>44578</c:v>
                </c:pt>
                <c:pt idx="421">
                  <c:v>44579</c:v>
                </c:pt>
                <c:pt idx="422">
                  <c:v>44580</c:v>
                </c:pt>
                <c:pt idx="423">
                  <c:v>44581</c:v>
                </c:pt>
                <c:pt idx="424">
                  <c:v>44582</c:v>
                </c:pt>
                <c:pt idx="425">
                  <c:v>44583</c:v>
                </c:pt>
                <c:pt idx="426">
                  <c:v>44584</c:v>
                </c:pt>
                <c:pt idx="427">
                  <c:v>44585</c:v>
                </c:pt>
                <c:pt idx="428">
                  <c:v>44586</c:v>
                </c:pt>
                <c:pt idx="429">
                  <c:v>44587</c:v>
                </c:pt>
                <c:pt idx="430">
                  <c:v>44588</c:v>
                </c:pt>
                <c:pt idx="431">
                  <c:v>44589</c:v>
                </c:pt>
                <c:pt idx="432">
                  <c:v>44590</c:v>
                </c:pt>
                <c:pt idx="433">
                  <c:v>44591</c:v>
                </c:pt>
                <c:pt idx="434">
                  <c:v>44592</c:v>
                </c:pt>
                <c:pt idx="435">
                  <c:v>44593</c:v>
                </c:pt>
                <c:pt idx="436">
                  <c:v>44594</c:v>
                </c:pt>
                <c:pt idx="437">
                  <c:v>44595</c:v>
                </c:pt>
                <c:pt idx="438">
                  <c:v>44596</c:v>
                </c:pt>
                <c:pt idx="439">
                  <c:v>44597</c:v>
                </c:pt>
                <c:pt idx="440">
                  <c:v>44598</c:v>
                </c:pt>
                <c:pt idx="441">
                  <c:v>44599</c:v>
                </c:pt>
                <c:pt idx="442">
                  <c:v>44600</c:v>
                </c:pt>
                <c:pt idx="443">
                  <c:v>44601</c:v>
                </c:pt>
                <c:pt idx="444">
                  <c:v>44602</c:v>
                </c:pt>
                <c:pt idx="445">
                  <c:v>44603</c:v>
                </c:pt>
                <c:pt idx="446">
                  <c:v>44604</c:v>
                </c:pt>
                <c:pt idx="447">
                  <c:v>44605</c:v>
                </c:pt>
                <c:pt idx="448">
                  <c:v>44606</c:v>
                </c:pt>
                <c:pt idx="449">
                  <c:v>44607</c:v>
                </c:pt>
                <c:pt idx="450">
                  <c:v>44608</c:v>
                </c:pt>
                <c:pt idx="451">
                  <c:v>44609</c:v>
                </c:pt>
                <c:pt idx="452">
                  <c:v>44610</c:v>
                </c:pt>
                <c:pt idx="453">
                  <c:v>44611</c:v>
                </c:pt>
                <c:pt idx="454">
                  <c:v>44612</c:v>
                </c:pt>
                <c:pt idx="455">
                  <c:v>44613</c:v>
                </c:pt>
                <c:pt idx="456">
                  <c:v>44614</c:v>
                </c:pt>
                <c:pt idx="457">
                  <c:v>44615</c:v>
                </c:pt>
                <c:pt idx="458">
                  <c:v>44616</c:v>
                </c:pt>
                <c:pt idx="459">
                  <c:v>44617</c:v>
                </c:pt>
                <c:pt idx="460">
                  <c:v>44618</c:v>
                </c:pt>
                <c:pt idx="461">
                  <c:v>44619</c:v>
                </c:pt>
                <c:pt idx="462">
                  <c:v>44620</c:v>
                </c:pt>
                <c:pt idx="463">
                  <c:v>44621</c:v>
                </c:pt>
                <c:pt idx="464">
                  <c:v>44622</c:v>
                </c:pt>
                <c:pt idx="465">
                  <c:v>44623</c:v>
                </c:pt>
                <c:pt idx="466">
                  <c:v>44624</c:v>
                </c:pt>
                <c:pt idx="467">
                  <c:v>44625</c:v>
                </c:pt>
                <c:pt idx="468">
                  <c:v>44626</c:v>
                </c:pt>
                <c:pt idx="469">
                  <c:v>44627</c:v>
                </c:pt>
                <c:pt idx="470">
                  <c:v>44628</c:v>
                </c:pt>
                <c:pt idx="471">
                  <c:v>44629</c:v>
                </c:pt>
                <c:pt idx="472">
                  <c:v>44630</c:v>
                </c:pt>
                <c:pt idx="473">
                  <c:v>44631</c:v>
                </c:pt>
              </c:numCache>
            </c:numRef>
          </c:cat>
          <c:val>
            <c:numRef>
              <c:f>Sheet1!$B$2:$B$475</c:f>
              <c:numCache>
                <c:formatCode>General</c:formatCode>
                <c:ptCount val="474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  <c:pt idx="15">
                  <c:v>2</c:v>
                </c:pt>
                <c:pt idx="16">
                  <c:v>1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2</c:v>
                </c:pt>
                <c:pt idx="23">
                  <c:v>4</c:v>
                </c:pt>
                <c:pt idx="24">
                  <c:v>1</c:v>
                </c:pt>
                <c:pt idx="25">
                  <c:v>8</c:v>
                </c:pt>
                <c:pt idx="26">
                  <c:v>9</c:v>
                </c:pt>
                <c:pt idx="27">
                  <c:v>19</c:v>
                </c:pt>
                <c:pt idx="28">
                  <c:v>10</c:v>
                </c:pt>
                <c:pt idx="29">
                  <c:v>7</c:v>
                </c:pt>
                <c:pt idx="30">
                  <c:v>46</c:v>
                </c:pt>
                <c:pt idx="31">
                  <c:v>15</c:v>
                </c:pt>
                <c:pt idx="32">
                  <c:v>8</c:v>
                </c:pt>
                <c:pt idx="33">
                  <c:v>17</c:v>
                </c:pt>
                <c:pt idx="34">
                  <c:v>28</c:v>
                </c:pt>
                <c:pt idx="35">
                  <c:v>12</c:v>
                </c:pt>
                <c:pt idx="36">
                  <c:v>2</c:v>
                </c:pt>
                <c:pt idx="37">
                  <c:v>28</c:v>
                </c:pt>
                <c:pt idx="38">
                  <c:v>40</c:v>
                </c:pt>
                <c:pt idx="39">
                  <c:v>50</c:v>
                </c:pt>
                <c:pt idx="40">
                  <c:v>34</c:v>
                </c:pt>
                <c:pt idx="41">
                  <c:v>42</c:v>
                </c:pt>
                <c:pt idx="42">
                  <c:v>27</c:v>
                </c:pt>
                <c:pt idx="43">
                  <c:v>16</c:v>
                </c:pt>
                <c:pt idx="44">
                  <c:v>42</c:v>
                </c:pt>
                <c:pt idx="45">
                  <c:v>42</c:v>
                </c:pt>
                <c:pt idx="46">
                  <c:v>58</c:v>
                </c:pt>
                <c:pt idx="47">
                  <c:v>63</c:v>
                </c:pt>
                <c:pt idx="48">
                  <c:v>78</c:v>
                </c:pt>
                <c:pt idx="49">
                  <c:v>46</c:v>
                </c:pt>
                <c:pt idx="50">
                  <c:v>37</c:v>
                </c:pt>
                <c:pt idx="51">
                  <c:v>82</c:v>
                </c:pt>
                <c:pt idx="52">
                  <c:v>75</c:v>
                </c:pt>
                <c:pt idx="53">
                  <c:v>44</c:v>
                </c:pt>
                <c:pt idx="54">
                  <c:v>91</c:v>
                </c:pt>
                <c:pt idx="55">
                  <c:v>102</c:v>
                </c:pt>
                <c:pt idx="56">
                  <c:v>38</c:v>
                </c:pt>
                <c:pt idx="57">
                  <c:v>40</c:v>
                </c:pt>
                <c:pt idx="58">
                  <c:v>65</c:v>
                </c:pt>
                <c:pt idx="59">
                  <c:v>65</c:v>
                </c:pt>
                <c:pt idx="60">
                  <c:v>70</c:v>
                </c:pt>
                <c:pt idx="61">
                  <c:v>83</c:v>
                </c:pt>
                <c:pt idx="62">
                  <c:v>88</c:v>
                </c:pt>
                <c:pt idx="63">
                  <c:v>33</c:v>
                </c:pt>
                <c:pt idx="64">
                  <c:v>18</c:v>
                </c:pt>
                <c:pt idx="65">
                  <c:v>55</c:v>
                </c:pt>
                <c:pt idx="66">
                  <c:v>74</c:v>
                </c:pt>
                <c:pt idx="67">
                  <c:v>123</c:v>
                </c:pt>
                <c:pt idx="68">
                  <c:v>98</c:v>
                </c:pt>
                <c:pt idx="69">
                  <c:v>84</c:v>
                </c:pt>
                <c:pt idx="70">
                  <c:v>47</c:v>
                </c:pt>
                <c:pt idx="71">
                  <c:v>28</c:v>
                </c:pt>
                <c:pt idx="72">
                  <c:v>71</c:v>
                </c:pt>
                <c:pt idx="73">
                  <c:v>26</c:v>
                </c:pt>
                <c:pt idx="74">
                  <c:v>52</c:v>
                </c:pt>
                <c:pt idx="75">
                  <c:v>62</c:v>
                </c:pt>
                <c:pt idx="76">
                  <c:v>52</c:v>
                </c:pt>
                <c:pt idx="77">
                  <c:v>21</c:v>
                </c:pt>
                <c:pt idx="78">
                  <c:v>13</c:v>
                </c:pt>
                <c:pt idx="79">
                  <c:v>77</c:v>
                </c:pt>
                <c:pt idx="80">
                  <c:v>44</c:v>
                </c:pt>
                <c:pt idx="81">
                  <c:v>30</c:v>
                </c:pt>
                <c:pt idx="82">
                  <c:v>37</c:v>
                </c:pt>
                <c:pt idx="83">
                  <c:v>28</c:v>
                </c:pt>
                <c:pt idx="84">
                  <c:v>16</c:v>
                </c:pt>
                <c:pt idx="85">
                  <c:v>13</c:v>
                </c:pt>
                <c:pt idx="86">
                  <c:v>43</c:v>
                </c:pt>
                <c:pt idx="87">
                  <c:v>33</c:v>
                </c:pt>
                <c:pt idx="88">
                  <c:v>29</c:v>
                </c:pt>
                <c:pt idx="89">
                  <c:v>25</c:v>
                </c:pt>
                <c:pt idx="90">
                  <c:v>43</c:v>
                </c:pt>
                <c:pt idx="91">
                  <c:v>20</c:v>
                </c:pt>
                <c:pt idx="92">
                  <c:v>10</c:v>
                </c:pt>
                <c:pt idx="93">
                  <c:v>38</c:v>
                </c:pt>
                <c:pt idx="94">
                  <c:v>30</c:v>
                </c:pt>
                <c:pt idx="95">
                  <c:v>34</c:v>
                </c:pt>
                <c:pt idx="96">
                  <c:v>29</c:v>
                </c:pt>
                <c:pt idx="97">
                  <c:v>36</c:v>
                </c:pt>
                <c:pt idx="98">
                  <c:v>17</c:v>
                </c:pt>
                <c:pt idx="99">
                  <c:v>24</c:v>
                </c:pt>
                <c:pt idx="100">
                  <c:v>37</c:v>
                </c:pt>
                <c:pt idx="101">
                  <c:v>26</c:v>
                </c:pt>
                <c:pt idx="102">
                  <c:v>29</c:v>
                </c:pt>
                <c:pt idx="103">
                  <c:v>17</c:v>
                </c:pt>
                <c:pt idx="104">
                  <c:v>39</c:v>
                </c:pt>
                <c:pt idx="105">
                  <c:v>15</c:v>
                </c:pt>
                <c:pt idx="106">
                  <c:v>7</c:v>
                </c:pt>
                <c:pt idx="107">
                  <c:v>30</c:v>
                </c:pt>
                <c:pt idx="108">
                  <c:v>43</c:v>
                </c:pt>
                <c:pt idx="109">
                  <c:v>22</c:v>
                </c:pt>
                <c:pt idx="110">
                  <c:v>6</c:v>
                </c:pt>
                <c:pt idx="111">
                  <c:v>23</c:v>
                </c:pt>
                <c:pt idx="112">
                  <c:v>18</c:v>
                </c:pt>
                <c:pt idx="113">
                  <c:v>20</c:v>
                </c:pt>
                <c:pt idx="114">
                  <c:v>21</c:v>
                </c:pt>
                <c:pt idx="115">
                  <c:v>46</c:v>
                </c:pt>
                <c:pt idx="116">
                  <c:v>28</c:v>
                </c:pt>
                <c:pt idx="117">
                  <c:v>37</c:v>
                </c:pt>
                <c:pt idx="118">
                  <c:v>20</c:v>
                </c:pt>
                <c:pt idx="119">
                  <c:v>15</c:v>
                </c:pt>
                <c:pt idx="120">
                  <c:v>5</c:v>
                </c:pt>
                <c:pt idx="121">
                  <c:v>33</c:v>
                </c:pt>
                <c:pt idx="122">
                  <c:v>32</c:v>
                </c:pt>
                <c:pt idx="123">
                  <c:v>35</c:v>
                </c:pt>
                <c:pt idx="124">
                  <c:v>44</c:v>
                </c:pt>
                <c:pt idx="125">
                  <c:v>38</c:v>
                </c:pt>
                <c:pt idx="126">
                  <c:v>16</c:v>
                </c:pt>
                <c:pt idx="127">
                  <c:v>10</c:v>
                </c:pt>
                <c:pt idx="128">
                  <c:v>56</c:v>
                </c:pt>
                <c:pt idx="129">
                  <c:v>27</c:v>
                </c:pt>
                <c:pt idx="130">
                  <c:v>22</c:v>
                </c:pt>
                <c:pt idx="131">
                  <c:v>13</c:v>
                </c:pt>
                <c:pt idx="132">
                  <c:v>24</c:v>
                </c:pt>
                <c:pt idx="133">
                  <c:v>12</c:v>
                </c:pt>
                <c:pt idx="134">
                  <c:v>15</c:v>
                </c:pt>
                <c:pt idx="135">
                  <c:v>32</c:v>
                </c:pt>
                <c:pt idx="136">
                  <c:v>28</c:v>
                </c:pt>
                <c:pt idx="137">
                  <c:v>38</c:v>
                </c:pt>
                <c:pt idx="138">
                  <c:v>25</c:v>
                </c:pt>
                <c:pt idx="139">
                  <c:v>24</c:v>
                </c:pt>
                <c:pt idx="140">
                  <c:v>8</c:v>
                </c:pt>
                <c:pt idx="141">
                  <c:v>10</c:v>
                </c:pt>
                <c:pt idx="142">
                  <c:v>25</c:v>
                </c:pt>
                <c:pt idx="143">
                  <c:v>14</c:v>
                </c:pt>
                <c:pt idx="144">
                  <c:v>21</c:v>
                </c:pt>
                <c:pt idx="145">
                  <c:v>12</c:v>
                </c:pt>
                <c:pt idx="146">
                  <c:v>8</c:v>
                </c:pt>
                <c:pt idx="147">
                  <c:v>10</c:v>
                </c:pt>
                <c:pt idx="148">
                  <c:v>7</c:v>
                </c:pt>
                <c:pt idx="149">
                  <c:v>23</c:v>
                </c:pt>
                <c:pt idx="150">
                  <c:v>21</c:v>
                </c:pt>
                <c:pt idx="151">
                  <c:v>15</c:v>
                </c:pt>
                <c:pt idx="152">
                  <c:v>21</c:v>
                </c:pt>
                <c:pt idx="153">
                  <c:v>16</c:v>
                </c:pt>
                <c:pt idx="154">
                  <c:v>6</c:v>
                </c:pt>
                <c:pt idx="155">
                  <c:v>5</c:v>
                </c:pt>
                <c:pt idx="156">
                  <c:v>16</c:v>
                </c:pt>
                <c:pt idx="157">
                  <c:v>15</c:v>
                </c:pt>
                <c:pt idx="158">
                  <c:v>16</c:v>
                </c:pt>
                <c:pt idx="159">
                  <c:v>14</c:v>
                </c:pt>
                <c:pt idx="160">
                  <c:v>13</c:v>
                </c:pt>
                <c:pt idx="161">
                  <c:v>2</c:v>
                </c:pt>
                <c:pt idx="162">
                  <c:v>5</c:v>
                </c:pt>
                <c:pt idx="163">
                  <c:v>8</c:v>
                </c:pt>
                <c:pt idx="164">
                  <c:v>8</c:v>
                </c:pt>
                <c:pt idx="165">
                  <c:v>7</c:v>
                </c:pt>
                <c:pt idx="166">
                  <c:v>10</c:v>
                </c:pt>
                <c:pt idx="167">
                  <c:v>6</c:v>
                </c:pt>
                <c:pt idx="168">
                  <c:v>11</c:v>
                </c:pt>
                <c:pt idx="169">
                  <c:v>4</c:v>
                </c:pt>
                <c:pt idx="170">
                  <c:v>23</c:v>
                </c:pt>
                <c:pt idx="171">
                  <c:v>16</c:v>
                </c:pt>
                <c:pt idx="172">
                  <c:v>8</c:v>
                </c:pt>
                <c:pt idx="173">
                  <c:v>11</c:v>
                </c:pt>
                <c:pt idx="174">
                  <c:v>11</c:v>
                </c:pt>
                <c:pt idx="175">
                  <c:v>4</c:v>
                </c:pt>
                <c:pt idx="176">
                  <c:v>1</c:v>
                </c:pt>
                <c:pt idx="177">
                  <c:v>12</c:v>
                </c:pt>
                <c:pt idx="178">
                  <c:v>7</c:v>
                </c:pt>
                <c:pt idx="179">
                  <c:v>10</c:v>
                </c:pt>
                <c:pt idx="180">
                  <c:v>4</c:v>
                </c:pt>
                <c:pt idx="181">
                  <c:v>8</c:v>
                </c:pt>
                <c:pt idx="182">
                  <c:v>2</c:v>
                </c:pt>
                <c:pt idx="183">
                  <c:v>4</c:v>
                </c:pt>
                <c:pt idx="184">
                  <c:v>6</c:v>
                </c:pt>
                <c:pt idx="185">
                  <c:v>12</c:v>
                </c:pt>
                <c:pt idx="186">
                  <c:v>12</c:v>
                </c:pt>
                <c:pt idx="187">
                  <c:v>8</c:v>
                </c:pt>
                <c:pt idx="188">
                  <c:v>6</c:v>
                </c:pt>
                <c:pt idx="189">
                  <c:v>5</c:v>
                </c:pt>
                <c:pt idx="190">
                  <c:v>3</c:v>
                </c:pt>
                <c:pt idx="191">
                  <c:v>12</c:v>
                </c:pt>
                <c:pt idx="192">
                  <c:v>9</c:v>
                </c:pt>
                <c:pt idx="193">
                  <c:v>3</c:v>
                </c:pt>
                <c:pt idx="194">
                  <c:v>8</c:v>
                </c:pt>
                <c:pt idx="195">
                  <c:v>11</c:v>
                </c:pt>
                <c:pt idx="196">
                  <c:v>4</c:v>
                </c:pt>
                <c:pt idx="197">
                  <c:v>2</c:v>
                </c:pt>
                <c:pt idx="198">
                  <c:v>4</c:v>
                </c:pt>
                <c:pt idx="199">
                  <c:v>8</c:v>
                </c:pt>
                <c:pt idx="200">
                  <c:v>4</c:v>
                </c:pt>
                <c:pt idx="201">
                  <c:v>3</c:v>
                </c:pt>
                <c:pt idx="202">
                  <c:v>2</c:v>
                </c:pt>
                <c:pt idx="203">
                  <c:v>2</c:v>
                </c:pt>
                <c:pt idx="204">
                  <c:v>0</c:v>
                </c:pt>
                <c:pt idx="205">
                  <c:v>3</c:v>
                </c:pt>
                <c:pt idx="206">
                  <c:v>1</c:v>
                </c:pt>
                <c:pt idx="207">
                  <c:v>2</c:v>
                </c:pt>
                <c:pt idx="208">
                  <c:v>2</c:v>
                </c:pt>
                <c:pt idx="209">
                  <c:v>1</c:v>
                </c:pt>
                <c:pt idx="210">
                  <c:v>3</c:v>
                </c:pt>
                <c:pt idx="211">
                  <c:v>2</c:v>
                </c:pt>
                <c:pt idx="212">
                  <c:v>0</c:v>
                </c:pt>
                <c:pt idx="213">
                  <c:v>0</c:v>
                </c:pt>
                <c:pt idx="214">
                  <c:v>6</c:v>
                </c:pt>
                <c:pt idx="215">
                  <c:v>1</c:v>
                </c:pt>
                <c:pt idx="216">
                  <c:v>1</c:v>
                </c:pt>
                <c:pt idx="217">
                  <c:v>0</c:v>
                </c:pt>
                <c:pt idx="218">
                  <c:v>0</c:v>
                </c:pt>
                <c:pt idx="219">
                  <c:v>2</c:v>
                </c:pt>
                <c:pt idx="220">
                  <c:v>4</c:v>
                </c:pt>
                <c:pt idx="221">
                  <c:v>2</c:v>
                </c:pt>
                <c:pt idx="222">
                  <c:v>2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1</c:v>
                </c:pt>
                <c:pt idx="227">
                  <c:v>2</c:v>
                </c:pt>
                <c:pt idx="228">
                  <c:v>2</c:v>
                </c:pt>
                <c:pt idx="229">
                  <c:v>5</c:v>
                </c:pt>
                <c:pt idx="230">
                  <c:v>2</c:v>
                </c:pt>
                <c:pt idx="231">
                  <c:v>0</c:v>
                </c:pt>
                <c:pt idx="232">
                  <c:v>1</c:v>
                </c:pt>
                <c:pt idx="233">
                  <c:v>5</c:v>
                </c:pt>
                <c:pt idx="234">
                  <c:v>0</c:v>
                </c:pt>
                <c:pt idx="235">
                  <c:v>1</c:v>
                </c:pt>
                <c:pt idx="236">
                  <c:v>0</c:v>
                </c:pt>
                <c:pt idx="237">
                  <c:v>0</c:v>
                </c:pt>
                <c:pt idx="238">
                  <c:v>2</c:v>
                </c:pt>
                <c:pt idx="239">
                  <c:v>0</c:v>
                </c:pt>
                <c:pt idx="240">
                  <c:v>1</c:v>
                </c:pt>
                <c:pt idx="241">
                  <c:v>1</c:v>
                </c:pt>
                <c:pt idx="242">
                  <c:v>1</c:v>
                </c:pt>
                <c:pt idx="243">
                  <c:v>0</c:v>
                </c:pt>
                <c:pt idx="244">
                  <c:v>2</c:v>
                </c:pt>
                <c:pt idx="245">
                  <c:v>3</c:v>
                </c:pt>
                <c:pt idx="246">
                  <c:v>1</c:v>
                </c:pt>
                <c:pt idx="247">
                  <c:v>3</c:v>
                </c:pt>
                <c:pt idx="248">
                  <c:v>4</c:v>
                </c:pt>
                <c:pt idx="249">
                  <c:v>1</c:v>
                </c:pt>
                <c:pt idx="250">
                  <c:v>1</c:v>
                </c:pt>
                <c:pt idx="251">
                  <c:v>0</c:v>
                </c:pt>
                <c:pt idx="252">
                  <c:v>2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1</c:v>
                </c:pt>
                <c:pt idx="260">
                  <c:v>2</c:v>
                </c:pt>
                <c:pt idx="261">
                  <c:v>1</c:v>
                </c:pt>
                <c:pt idx="262">
                  <c:v>0</c:v>
                </c:pt>
                <c:pt idx="263">
                  <c:v>0</c:v>
                </c:pt>
                <c:pt idx="264">
                  <c:v>1</c:v>
                </c:pt>
                <c:pt idx="265">
                  <c:v>1</c:v>
                </c:pt>
                <c:pt idx="266">
                  <c:v>1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1</c:v>
                </c:pt>
                <c:pt idx="272">
                  <c:v>0</c:v>
                </c:pt>
                <c:pt idx="273">
                  <c:v>0</c:v>
                </c:pt>
                <c:pt idx="274">
                  <c:v>1</c:v>
                </c:pt>
                <c:pt idx="275">
                  <c:v>0</c:v>
                </c:pt>
                <c:pt idx="276">
                  <c:v>0</c:v>
                </c:pt>
                <c:pt idx="277">
                  <c:v>1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1</c:v>
                </c:pt>
                <c:pt idx="285">
                  <c:v>1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2</c:v>
                </c:pt>
                <c:pt idx="292">
                  <c:v>2</c:v>
                </c:pt>
                <c:pt idx="293">
                  <c:v>1</c:v>
                </c:pt>
                <c:pt idx="294">
                  <c:v>0</c:v>
                </c:pt>
                <c:pt idx="295">
                  <c:v>2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2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1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3</c:v>
                </c:pt>
                <c:pt idx="319">
                  <c:v>1</c:v>
                </c:pt>
                <c:pt idx="320">
                  <c:v>3</c:v>
                </c:pt>
                <c:pt idx="321">
                  <c:v>0</c:v>
                </c:pt>
                <c:pt idx="322">
                  <c:v>1</c:v>
                </c:pt>
                <c:pt idx="323">
                  <c:v>1</c:v>
                </c:pt>
                <c:pt idx="324">
                  <c:v>3</c:v>
                </c:pt>
                <c:pt idx="325">
                  <c:v>1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4</c:v>
                </c:pt>
                <c:pt idx="330">
                  <c:v>0</c:v>
                </c:pt>
                <c:pt idx="331">
                  <c:v>1</c:v>
                </c:pt>
                <c:pt idx="332">
                  <c:v>0</c:v>
                </c:pt>
                <c:pt idx="333">
                  <c:v>2</c:v>
                </c:pt>
                <c:pt idx="334">
                  <c:v>0</c:v>
                </c:pt>
                <c:pt idx="335">
                  <c:v>0</c:v>
                </c:pt>
                <c:pt idx="336">
                  <c:v>4</c:v>
                </c:pt>
                <c:pt idx="337">
                  <c:v>2</c:v>
                </c:pt>
                <c:pt idx="338">
                  <c:v>2</c:v>
                </c:pt>
                <c:pt idx="339">
                  <c:v>0</c:v>
                </c:pt>
                <c:pt idx="340">
                  <c:v>5</c:v>
                </c:pt>
                <c:pt idx="341">
                  <c:v>3</c:v>
                </c:pt>
                <c:pt idx="342">
                  <c:v>2</c:v>
                </c:pt>
                <c:pt idx="343">
                  <c:v>9</c:v>
                </c:pt>
                <c:pt idx="344">
                  <c:v>7</c:v>
                </c:pt>
                <c:pt idx="345">
                  <c:v>5</c:v>
                </c:pt>
                <c:pt idx="346">
                  <c:v>3</c:v>
                </c:pt>
                <c:pt idx="347">
                  <c:v>6</c:v>
                </c:pt>
                <c:pt idx="348">
                  <c:v>1</c:v>
                </c:pt>
                <c:pt idx="349">
                  <c:v>1</c:v>
                </c:pt>
                <c:pt idx="350">
                  <c:v>6</c:v>
                </c:pt>
                <c:pt idx="351">
                  <c:v>8</c:v>
                </c:pt>
                <c:pt idx="352">
                  <c:v>5</c:v>
                </c:pt>
                <c:pt idx="353">
                  <c:v>7</c:v>
                </c:pt>
                <c:pt idx="354">
                  <c:v>2</c:v>
                </c:pt>
                <c:pt idx="355">
                  <c:v>5</c:v>
                </c:pt>
                <c:pt idx="356">
                  <c:v>2</c:v>
                </c:pt>
                <c:pt idx="357">
                  <c:v>7</c:v>
                </c:pt>
                <c:pt idx="358">
                  <c:v>7</c:v>
                </c:pt>
                <c:pt idx="359">
                  <c:v>6</c:v>
                </c:pt>
                <c:pt idx="360">
                  <c:v>14</c:v>
                </c:pt>
                <c:pt idx="361">
                  <c:v>7</c:v>
                </c:pt>
                <c:pt idx="362">
                  <c:v>3</c:v>
                </c:pt>
                <c:pt idx="363">
                  <c:v>3</c:v>
                </c:pt>
                <c:pt idx="364">
                  <c:v>14</c:v>
                </c:pt>
                <c:pt idx="365">
                  <c:v>6</c:v>
                </c:pt>
                <c:pt idx="366">
                  <c:v>17</c:v>
                </c:pt>
                <c:pt idx="367">
                  <c:v>3</c:v>
                </c:pt>
                <c:pt idx="368">
                  <c:v>8</c:v>
                </c:pt>
                <c:pt idx="369">
                  <c:v>1</c:v>
                </c:pt>
                <c:pt idx="370">
                  <c:v>3</c:v>
                </c:pt>
                <c:pt idx="371">
                  <c:v>8</c:v>
                </c:pt>
                <c:pt idx="372">
                  <c:v>4</c:v>
                </c:pt>
                <c:pt idx="373">
                  <c:v>8</c:v>
                </c:pt>
                <c:pt idx="374">
                  <c:v>6</c:v>
                </c:pt>
                <c:pt idx="375">
                  <c:v>5</c:v>
                </c:pt>
                <c:pt idx="376">
                  <c:v>5</c:v>
                </c:pt>
                <c:pt idx="377">
                  <c:v>3</c:v>
                </c:pt>
                <c:pt idx="378">
                  <c:v>10</c:v>
                </c:pt>
                <c:pt idx="379">
                  <c:v>2</c:v>
                </c:pt>
                <c:pt idx="380">
                  <c:v>6</c:v>
                </c:pt>
                <c:pt idx="381">
                  <c:v>5</c:v>
                </c:pt>
                <c:pt idx="382">
                  <c:v>7</c:v>
                </c:pt>
                <c:pt idx="383">
                  <c:v>2</c:v>
                </c:pt>
                <c:pt idx="384">
                  <c:v>0</c:v>
                </c:pt>
                <c:pt idx="385">
                  <c:v>6</c:v>
                </c:pt>
                <c:pt idx="386">
                  <c:v>2</c:v>
                </c:pt>
                <c:pt idx="387">
                  <c:v>2</c:v>
                </c:pt>
                <c:pt idx="388">
                  <c:v>4</c:v>
                </c:pt>
                <c:pt idx="389">
                  <c:v>4</c:v>
                </c:pt>
                <c:pt idx="390">
                  <c:v>0</c:v>
                </c:pt>
                <c:pt idx="391">
                  <c:v>1</c:v>
                </c:pt>
                <c:pt idx="392">
                  <c:v>7</c:v>
                </c:pt>
                <c:pt idx="393">
                  <c:v>3</c:v>
                </c:pt>
                <c:pt idx="394">
                  <c:v>3</c:v>
                </c:pt>
                <c:pt idx="395">
                  <c:v>1</c:v>
                </c:pt>
                <c:pt idx="396">
                  <c:v>1</c:v>
                </c:pt>
                <c:pt idx="397">
                  <c:v>1</c:v>
                </c:pt>
                <c:pt idx="398">
                  <c:v>0</c:v>
                </c:pt>
                <c:pt idx="399">
                  <c:v>3</c:v>
                </c:pt>
                <c:pt idx="400">
                  <c:v>3</c:v>
                </c:pt>
                <c:pt idx="401">
                  <c:v>3</c:v>
                </c:pt>
                <c:pt idx="402">
                  <c:v>0</c:v>
                </c:pt>
                <c:pt idx="403">
                  <c:v>3</c:v>
                </c:pt>
                <c:pt idx="404">
                  <c:v>1</c:v>
                </c:pt>
                <c:pt idx="405">
                  <c:v>0</c:v>
                </c:pt>
                <c:pt idx="406">
                  <c:v>3</c:v>
                </c:pt>
                <c:pt idx="407">
                  <c:v>1</c:v>
                </c:pt>
                <c:pt idx="408">
                  <c:v>3</c:v>
                </c:pt>
                <c:pt idx="409">
                  <c:v>0</c:v>
                </c:pt>
                <c:pt idx="410">
                  <c:v>0</c:v>
                </c:pt>
                <c:pt idx="411">
                  <c:v>0</c:v>
                </c:pt>
                <c:pt idx="412">
                  <c:v>1</c:v>
                </c:pt>
                <c:pt idx="413">
                  <c:v>2</c:v>
                </c:pt>
                <c:pt idx="414">
                  <c:v>0</c:v>
                </c:pt>
                <c:pt idx="415">
                  <c:v>2</c:v>
                </c:pt>
                <c:pt idx="416">
                  <c:v>0</c:v>
                </c:pt>
                <c:pt idx="417">
                  <c:v>5</c:v>
                </c:pt>
                <c:pt idx="418">
                  <c:v>0</c:v>
                </c:pt>
                <c:pt idx="419">
                  <c:v>2</c:v>
                </c:pt>
                <c:pt idx="420">
                  <c:v>3</c:v>
                </c:pt>
                <c:pt idx="421">
                  <c:v>6</c:v>
                </c:pt>
                <c:pt idx="422">
                  <c:v>1</c:v>
                </c:pt>
                <c:pt idx="423">
                  <c:v>2</c:v>
                </c:pt>
                <c:pt idx="424">
                  <c:v>2</c:v>
                </c:pt>
                <c:pt idx="425">
                  <c:v>0</c:v>
                </c:pt>
                <c:pt idx="426">
                  <c:v>1</c:v>
                </c:pt>
                <c:pt idx="427">
                  <c:v>10</c:v>
                </c:pt>
                <c:pt idx="428">
                  <c:v>8</c:v>
                </c:pt>
                <c:pt idx="429">
                  <c:v>8</c:v>
                </c:pt>
                <c:pt idx="430">
                  <c:v>4</c:v>
                </c:pt>
                <c:pt idx="431">
                  <c:v>6</c:v>
                </c:pt>
                <c:pt idx="432">
                  <c:v>2</c:v>
                </c:pt>
                <c:pt idx="433">
                  <c:v>2</c:v>
                </c:pt>
                <c:pt idx="434">
                  <c:v>2</c:v>
                </c:pt>
                <c:pt idx="435">
                  <c:v>10</c:v>
                </c:pt>
                <c:pt idx="436">
                  <c:v>7</c:v>
                </c:pt>
                <c:pt idx="437">
                  <c:v>6</c:v>
                </c:pt>
                <c:pt idx="438">
                  <c:v>12</c:v>
                </c:pt>
                <c:pt idx="439">
                  <c:v>3</c:v>
                </c:pt>
                <c:pt idx="440">
                  <c:v>3</c:v>
                </c:pt>
                <c:pt idx="441">
                  <c:v>5</c:v>
                </c:pt>
                <c:pt idx="442">
                  <c:v>12</c:v>
                </c:pt>
                <c:pt idx="443">
                  <c:v>5</c:v>
                </c:pt>
                <c:pt idx="444">
                  <c:v>7</c:v>
                </c:pt>
                <c:pt idx="445">
                  <c:v>6</c:v>
                </c:pt>
                <c:pt idx="446">
                  <c:v>2</c:v>
                </c:pt>
                <c:pt idx="447">
                  <c:v>2</c:v>
                </c:pt>
                <c:pt idx="448">
                  <c:v>11</c:v>
                </c:pt>
                <c:pt idx="449">
                  <c:v>6</c:v>
                </c:pt>
                <c:pt idx="450">
                  <c:v>8</c:v>
                </c:pt>
                <c:pt idx="451">
                  <c:v>3</c:v>
                </c:pt>
                <c:pt idx="452">
                  <c:v>6</c:v>
                </c:pt>
                <c:pt idx="453">
                  <c:v>1</c:v>
                </c:pt>
                <c:pt idx="454">
                  <c:v>5</c:v>
                </c:pt>
                <c:pt idx="455">
                  <c:v>5</c:v>
                </c:pt>
                <c:pt idx="456">
                  <c:v>14</c:v>
                </c:pt>
                <c:pt idx="457">
                  <c:v>8</c:v>
                </c:pt>
                <c:pt idx="458">
                  <c:v>7</c:v>
                </c:pt>
                <c:pt idx="459">
                  <c:v>5</c:v>
                </c:pt>
                <c:pt idx="460">
                  <c:v>1</c:v>
                </c:pt>
                <c:pt idx="461">
                  <c:v>1</c:v>
                </c:pt>
                <c:pt idx="462">
                  <c:v>3</c:v>
                </c:pt>
                <c:pt idx="463">
                  <c:v>6</c:v>
                </c:pt>
                <c:pt idx="464">
                  <c:v>4</c:v>
                </c:pt>
                <c:pt idx="465">
                  <c:v>2</c:v>
                </c:pt>
                <c:pt idx="466">
                  <c:v>2</c:v>
                </c:pt>
                <c:pt idx="467">
                  <c:v>1</c:v>
                </c:pt>
                <c:pt idx="468">
                  <c:v>3</c:v>
                </c:pt>
                <c:pt idx="469">
                  <c:v>3</c:v>
                </c:pt>
                <c:pt idx="470">
                  <c:v>3</c:v>
                </c:pt>
                <c:pt idx="471">
                  <c:v>3</c:v>
                </c:pt>
                <c:pt idx="472">
                  <c:v>2</c:v>
                </c:pt>
                <c:pt idx="47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040874970922984E-2"/>
          <c:y val="3.3230967698252123E-2"/>
          <c:w val="0.95352420550495698"/>
          <c:h val="0.912247794327928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71</c:f>
              <c:numCache>
                <c:formatCode>m/d/yyyy</c:formatCode>
                <c:ptCount val="470"/>
                <c:pt idx="1">
                  <c:v>44075</c:v>
                </c:pt>
                <c:pt idx="2">
                  <c:v>44078</c:v>
                </c:pt>
                <c:pt idx="3">
                  <c:v>44082</c:v>
                </c:pt>
                <c:pt idx="4">
                  <c:v>44083</c:v>
                </c:pt>
                <c:pt idx="5">
                  <c:v>44084</c:v>
                </c:pt>
                <c:pt idx="6">
                  <c:v>44085</c:v>
                </c:pt>
                <c:pt idx="7">
                  <c:v>44086</c:v>
                </c:pt>
                <c:pt idx="8">
                  <c:v>44087</c:v>
                </c:pt>
                <c:pt idx="9">
                  <c:v>44088</c:v>
                </c:pt>
                <c:pt idx="10">
                  <c:v>44089</c:v>
                </c:pt>
                <c:pt idx="11">
                  <c:v>44090</c:v>
                </c:pt>
                <c:pt idx="12">
                  <c:v>44091</c:v>
                </c:pt>
                <c:pt idx="13">
                  <c:v>44092</c:v>
                </c:pt>
                <c:pt idx="14">
                  <c:v>44093</c:v>
                </c:pt>
                <c:pt idx="15">
                  <c:v>44094</c:v>
                </c:pt>
                <c:pt idx="16">
                  <c:v>44095</c:v>
                </c:pt>
                <c:pt idx="17">
                  <c:v>44096</c:v>
                </c:pt>
                <c:pt idx="18">
                  <c:v>44097</c:v>
                </c:pt>
                <c:pt idx="19">
                  <c:v>44098</c:v>
                </c:pt>
                <c:pt idx="20">
                  <c:v>44099</c:v>
                </c:pt>
                <c:pt idx="21">
                  <c:v>44100</c:v>
                </c:pt>
                <c:pt idx="22">
                  <c:v>44101</c:v>
                </c:pt>
                <c:pt idx="23">
                  <c:v>44102</c:v>
                </c:pt>
                <c:pt idx="24">
                  <c:v>44103</c:v>
                </c:pt>
                <c:pt idx="25">
                  <c:v>44104</c:v>
                </c:pt>
                <c:pt idx="26">
                  <c:v>44105</c:v>
                </c:pt>
                <c:pt idx="27">
                  <c:v>44106</c:v>
                </c:pt>
                <c:pt idx="28">
                  <c:v>44107</c:v>
                </c:pt>
                <c:pt idx="29">
                  <c:v>44108</c:v>
                </c:pt>
                <c:pt idx="30">
                  <c:v>44109</c:v>
                </c:pt>
                <c:pt idx="31">
                  <c:v>44110</c:v>
                </c:pt>
                <c:pt idx="32">
                  <c:v>44111</c:v>
                </c:pt>
                <c:pt idx="33">
                  <c:v>44112</c:v>
                </c:pt>
                <c:pt idx="34">
                  <c:v>44113</c:v>
                </c:pt>
                <c:pt idx="35">
                  <c:v>44114</c:v>
                </c:pt>
                <c:pt idx="36">
                  <c:v>44115</c:v>
                </c:pt>
                <c:pt idx="37">
                  <c:v>44116</c:v>
                </c:pt>
                <c:pt idx="38">
                  <c:v>44117</c:v>
                </c:pt>
                <c:pt idx="39">
                  <c:v>44118</c:v>
                </c:pt>
                <c:pt idx="40">
                  <c:v>44119</c:v>
                </c:pt>
                <c:pt idx="41">
                  <c:v>44120</c:v>
                </c:pt>
                <c:pt idx="42">
                  <c:v>44121</c:v>
                </c:pt>
                <c:pt idx="43">
                  <c:v>44122</c:v>
                </c:pt>
                <c:pt idx="44">
                  <c:v>44123</c:v>
                </c:pt>
                <c:pt idx="45">
                  <c:v>44124</c:v>
                </c:pt>
                <c:pt idx="46">
                  <c:v>44125</c:v>
                </c:pt>
                <c:pt idx="47">
                  <c:v>44126</c:v>
                </c:pt>
                <c:pt idx="48">
                  <c:v>44127</c:v>
                </c:pt>
                <c:pt idx="49">
                  <c:v>44128</c:v>
                </c:pt>
                <c:pt idx="50">
                  <c:v>44129</c:v>
                </c:pt>
                <c:pt idx="51">
                  <c:v>44130</c:v>
                </c:pt>
                <c:pt idx="52">
                  <c:v>44131</c:v>
                </c:pt>
                <c:pt idx="53">
                  <c:v>44132</c:v>
                </c:pt>
                <c:pt idx="54">
                  <c:v>44133</c:v>
                </c:pt>
                <c:pt idx="55">
                  <c:v>44134</c:v>
                </c:pt>
                <c:pt idx="56">
                  <c:v>44135</c:v>
                </c:pt>
                <c:pt idx="57">
                  <c:v>44136</c:v>
                </c:pt>
                <c:pt idx="58">
                  <c:v>44137</c:v>
                </c:pt>
                <c:pt idx="59">
                  <c:v>44138</c:v>
                </c:pt>
                <c:pt idx="60">
                  <c:v>44139</c:v>
                </c:pt>
                <c:pt idx="61">
                  <c:v>44140</c:v>
                </c:pt>
                <c:pt idx="62">
                  <c:v>44141</c:v>
                </c:pt>
                <c:pt idx="63">
                  <c:v>44142</c:v>
                </c:pt>
                <c:pt idx="64">
                  <c:v>44143</c:v>
                </c:pt>
                <c:pt idx="65">
                  <c:v>44144</c:v>
                </c:pt>
                <c:pt idx="66">
                  <c:v>44145</c:v>
                </c:pt>
                <c:pt idx="67">
                  <c:v>44146</c:v>
                </c:pt>
                <c:pt idx="68">
                  <c:v>44147</c:v>
                </c:pt>
                <c:pt idx="69">
                  <c:v>44148</c:v>
                </c:pt>
                <c:pt idx="70">
                  <c:v>44149</c:v>
                </c:pt>
                <c:pt idx="71">
                  <c:v>44150</c:v>
                </c:pt>
                <c:pt idx="72">
                  <c:v>44151</c:v>
                </c:pt>
                <c:pt idx="73">
                  <c:v>44152</c:v>
                </c:pt>
                <c:pt idx="74">
                  <c:v>44153</c:v>
                </c:pt>
                <c:pt idx="75">
                  <c:v>44154</c:v>
                </c:pt>
                <c:pt idx="76">
                  <c:v>44155</c:v>
                </c:pt>
                <c:pt idx="77">
                  <c:v>44156</c:v>
                </c:pt>
                <c:pt idx="78">
                  <c:v>44157</c:v>
                </c:pt>
                <c:pt idx="79">
                  <c:v>44158</c:v>
                </c:pt>
                <c:pt idx="80">
                  <c:v>44159</c:v>
                </c:pt>
                <c:pt idx="81">
                  <c:v>44160</c:v>
                </c:pt>
                <c:pt idx="82">
                  <c:v>44161</c:v>
                </c:pt>
                <c:pt idx="83">
                  <c:v>44162</c:v>
                </c:pt>
                <c:pt idx="84">
                  <c:v>44163</c:v>
                </c:pt>
                <c:pt idx="85">
                  <c:v>44164</c:v>
                </c:pt>
                <c:pt idx="86">
                  <c:v>44165</c:v>
                </c:pt>
                <c:pt idx="87">
                  <c:v>44166</c:v>
                </c:pt>
                <c:pt idx="88">
                  <c:v>44167</c:v>
                </c:pt>
                <c:pt idx="89">
                  <c:v>44168</c:v>
                </c:pt>
                <c:pt idx="90">
                  <c:v>44169</c:v>
                </c:pt>
                <c:pt idx="91">
                  <c:v>44170</c:v>
                </c:pt>
                <c:pt idx="92">
                  <c:v>44171</c:v>
                </c:pt>
                <c:pt idx="93">
                  <c:v>44172</c:v>
                </c:pt>
                <c:pt idx="94">
                  <c:v>44173</c:v>
                </c:pt>
                <c:pt idx="95">
                  <c:v>44174</c:v>
                </c:pt>
                <c:pt idx="96">
                  <c:v>44175</c:v>
                </c:pt>
                <c:pt idx="97">
                  <c:v>44176</c:v>
                </c:pt>
                <c:pt idx="98">
                  <c:v>44177</c:v>
                </c:pt>
                <c:pt idx="99">
                  <c:v>44178</c:v>
                </c:pt>
                <c:pt idx="100">
                  <c:v>44179</c:v>
                </c:pt>
                <c:pt idx="101">
                  <c:v>44180</c:v>
                </c:pt>
                <c:pt idx="102">
                  <c:v>44181</c:v>
                </c:pt>
                <c:pt idx="103">
                  <c:v>44182</c:v>
                </c:pt>
                <c:pt idx="104">
                  <c:v>44183</c:v>
                </c:pt>
                <c:pt idx="105">
                  <c:v>44184</c:v>
                </c:pt>
                <c:pt idx="106">
                  <c:v>44185</c:v>
                </c:pt>
                <c:pt idx="107">
                  <c:v>44186</c:v>
                </c:pt>
                <c:pt idx="108">
                  <c:v>44187</c:v>
                </c:pt>
                <c:pt idx="109">
                  <c:v>44188</c:v>
                </c:pt>
                <c:pt idx="110">
                  <c:v>44189</c:v>
                </c:pt>
                <c:pt idx="111">
                  <c:v>44190</c:v>
                </c:pt>
                <c:pt idx="112">
                  <c:v>44191</c:v>
                </c:pt>
                <c:pt idx="113">
                  <c:v>44192</c:v>
                </c:pt>
                <c:pt idx="114">
                  <c:v>44193</c:v>
                </c:pt>
                <c:pt idx="115">
                  <c:v>44194</c:v>
                </c:pt>
                <c:pt idx="116">
                  <c:v>44195</c:v>
                </c:pt>
                <c:pt idx="117">
                  <c:v>44196</c:v>
                </c:pt>
                <c:pt idx="118">
                  <c:v>44197</c:v>
                </c:pt>
                <c:pt idx="119">
                  <c:v>44198</c:v>
                </c:pt>
                <c:pt idx="120">
                  <c:v>44199</c:v>
                </c:pt>
                <c:pt idx="121">
                  <c:v>44200</c:v>
                </c:pt>
                <c:pt idx="122">
                  <c:v>44201</c:v>
                </c:pt>
                <c:pt idx="123">
                  <c:v>44202</c:v>
                </c:pt>
                <c:pt idx="124">
                  <c:v>44203</c:v>
                </c:pt>
                <c:pt idx="125">
                  <c:v>44204</c:v>
                </c:pt>
                <c:pt idx="126">
                  <c:v>44205</c:v>
                </c:pt>
                <c:pt idx="127">
                  <c:v>44206</c:v>
                </c:pt>
                <c:pt idx="128">
                  <c:v>44207</c:v>
                </c:pt>
                <c:pt idx="129">
                  <c:v>44208</c:v>
                </c:pt>
                <c:pt idx="130">
                  <c:v>44209</c:v>
                </c:pt>
                <c:pt idx="131">
                  <c:v>44210</c:v>
                </c:pt>
                <c:pt idx="132">
                  <c:v>44211</c:v>
                </c:pt>
                <c:pt idx="133">
                  <c:v>44212</c:v>
                </c:pt>
                <c:pt idx="134">
                  <c:v>44213</c:v>
                </c:pt>
                <c:pt idx="135">
                  <c:v>44214</c:v>
                </c:pt>
                <c:pt idx="136">
                  <c:v>44215</c:v>
                </c:pt>
                <c:pt idx="137">
                  <c:v>44216</c:v>
                </c:pt>
                <c:pt idx="138">
                  <c:v>44217</c:v>
                </c:pt>
                <c:pt idx="139">
                  <c:v>44218</c:v>
                </c:pt>
                <c:pt idx="140">
                  <c:v>44219</c:v>
                </c:pt>
                <c:pt idx="141">
                  <c:v>44220</c:v>
                </c:pt>
                <c:pt idx="142">
                  <c:v>44221</c:v>
                </c:pt>
                <c:pt idx="143">
                  <c:v>44222</c:v>
                </c:pt>
                <c:pt idx="144">
                  <c:v>44223</c:v>
                </c:pt>
                <c:pt idx="145">
                  <c:v>44224</c:v>
                </c:pt>
                <c:pt idx="146">
                  <c:v>44225</c:v>
                </c:pt>
                <c:pt idx="147">
                  <c:v>44226</c:v>
                </c:pt>
                <c:pt idx="148">
                  <c:v>44227</c:v>
                </c:pt>
                <c:pt idx="149">
                  <c:v>44228</c:v>
                </c:pt>
                <c:pt idx="150">
                  <c:v>44229</c:v>
                </c:pt>
                <c:pt idx="151">
                  <c:v>44230</c:v>
                </c:pt>
                <c:pt idx="152">
                  <c:v>44231</c:v>
                </c:pt>
                <c:pt idx="153">
                  <c:v>44232</c:v>
                </c:pt>
                <c:pt idx="154">
                  <c:v>44233</c:v>
                </c:pt>
                <c:pt idx="155">
                  <c:v>44234</c:v>
                </c:pt>
                <c:pt idx="156">
                  <c:v>44235</c:v>
                </c:pt>
                <c:pt idx="157">
                  <c:v>44236</c:v>
                </c:pt>
                <c:pt idx="158">
                  <c:v>44237</c:v>
                </c:pt>
                <c:pt idx="159">
                  <c:v>44238</c:v>
                </c:pt>
                <c:pt idx="160">
                  <c:v>44239</c:v>
                </c:pt>
                <c:pt idx="161">
                  <c:v>44240</c:v>
                </c:pt>
                <c:pt idx="162">
                  <c:v>44241</c:v>
                </c:pt>
                <c:pt idx="163">
                  <c:v>44242</c:v>
                </c:pt>
                <c:pt idx="164">
                  <c:v>44243</c:v>
                </c:pt>
                <c:pt idx="165">
                  <c:v>44244</c:v>
                </c:pt>
                <c:pt idx="166">
                  <c:v>44245</c:v>
                </c:pt>
                <c:pt idx="167">
                  <c:v>44246</c:v>
                </c:pt>
                <c:pt idx="168">
                  <c:v>44247</c:v>
                </c:pt>
                <c:pt idx="169">
                  <c:v>44248</c:v>
                </c:pt>
                <c:pt idx="170">
                  <c:v>44249</c:v>
                </c:pt>
                <c:pt idx="171">
                  <c:v>44250</c:v>
                </c:pt>
                <c:pt idx="172">
                  <c:v>44251</c:v>
                </c:pt>
                <c:pt idx="173">
                  <c:v>44252</c:v>
                </c:pt>
                <c:pt idx="174">
                  <c:v>44253</c:v>
                </c:pt>
                <c:pt idx="175">
                  <c:v>44254</c:v>
                </c:pt>
                <c:pt idx="176">
                  <c:v>44255</c:v>
                </c:pt>
                <c:pt idx="177">
                  <c:v>44256</c:v>
                </c:pt>
                <c:pt idx="178">
                  <c:v>44257</c:v>
                </c:pt>
                <c:pt idx="179">
                  <c:v>44258</c:v>
                </c:pt>
                <c:pt idx="180">
                  <c:v>44259</c:v>
                </c:pt>
                <c:pt idx="181">
                  <c:v>44260</c:v>
                </c:pt>
                <c:pt idx="182">
                  <c:v>44261</c:v>
                </c:pt>
                <c:pt idx="183">
                  <c:v>44262</c:v>
                </c:pt>
                <c:pt idx="184">
                  <c:v>44263</c:v>
                </c:pt>
                <c:pt idx="185">
                  <c:v>44264</c:v>
                </c:pt>
                <c:pt idx="186">
                  <c:v>44265</c:v>
                </c:pt>
                <c:pt idx="187">
                  <c:v>44266</c:v>
                </c:pt>
                <c:pt idx="188">
                  <c:v>44267</c:v>
                </c:pt>
                <c:pt idx="189">
                  <c:v>44268</c:v>
                </c:pt>
                <c:pt idx="190">
                  <c:v>44269</c:v>
                </c:pt>
                <c:pt idx="191">
                  <c:v>44270</c:v>
                </c:pt>
                <c:pt idx="192">
                  <c:v>44271</c:v>
                </c:pt>
                <c:pt idx="193">
                  <c:v>44272</c:v>
                </c:pt>
                <c:pt idx="194">
                  <c:v>44273</c:v>
                </c:pt>
                <c:pt idx="195">
                  <c:v>44274</c:v>
                </c:pt>
                <c:pt idx="196">
                  <c:v>44275</c:v>
                </c:pt>
                <c:pt idx="197">
                  <c:v>44276</c:v>
                </c:pt>
                <c:pt idx="198">
                  <c:v>44277</c:v>
                </c:pt>
                <c:pt idx="199">
                  <c:v>44278</c:v>
                </c:pt>
                <c:pt idx="200">
                  <c:v>44279</c:v>
                </c:pt>
                <c:pt idx="201">
                  <c:v>44280</c:v>
                </c:pt>
                <c:pt idx="202">
                  <c:v>44281</c:v>
                </c:pt>
                <c:pt idx="203">
                  <c:v>44282</c:v>
                </c:pt>
                <c:pt idx="204">
                  <c:v>44283</c:v>
                </c:pt>
                <c:pt idx="205">
                  <c:v>44284</c:v>
                </c:pt>
                <c:pt idx="206">
                  <c:v>44285</c:v>
                </c:pt>
                <c:pt idx="207">
                  <c:v>44286</c:v>
                </c:pt>
                <c:pt idx="208">
                  <c:v>44287</c:v>
                </c:pt>
                <c:pt idx="209">
                  <c:v>44288</c:v>
                </c:pt>
                <c:pt idx="210">
                  <c:v>44289</c:v>
                </c:pt>
                <c:pt idx="211">
                  <c:v>44290</c:v>
                </c:pt>
                <c:pt idx="212">
                  <c:v>44291</c:v>
                </c:pt>
                <c:pt idx="213">
                  <c:v>44292</c:v>
                </c:pt>
                <c:pt idx="214">
                  <c:v>44293</c:v>
                </c:pt>
                <c:pt idx="215">
                  <c:v>44294</c:v>
                </c:pt>
                <c:pt idx="216">
                  <c:v>44295</c:v>
                </c:pt>
                <c:pt idx="217">
                  <c:v>44296</c:v>
                </c:pt>
                <c:pt idx="218">
                  <c:v>44297</c:v>
                </c:pt>
                <c:pt idx="219">
                  <c:v>44298</c:v>
                </c:pt>
                <c:pt idx="220">
                  <c:v>44299</c:v>
                </c:pt>
                <c:pt idx="221">
                  <c:v>44300</c:v>
                </c:pt>
                <c:pt idx="222">
                  <c:v>44301</c:v>
                </c:pt>
                <c:pt idx="223">
                  <c:v>44302</c:v>
                </c:pt>
                <c:pt idx="224">
                  <c:v>44303</c:v>
                </c:pt>
                <c:pt idx="225">
                  <c:v>44304</c:v>
                </c:pt>
                <c:pt idx="226">
                  <c:v>44305</c:v>
                </c:pt>
                <c:pt idx="227">
                  <c:v>44306</c:v>
                </c:pt>
                <c:pt idx="228">
                  <c:v>44307</c:v>
                </c:pt>
                <c:pt idx="229">
                  <c:v>44308</c:v>
                </c:pt>
                <c:pt idx="230">
                  <c:v>44309</c:v>
                </c:pt>
                <c:pt idx="231">
                  <c:v>44310</c:v>
                </c:pt>
                <c:pt idx="232">
                  <c:v>44312</c:v>
                </c:pt>
                <c:pt idx="233">
                  <c:v>44313</c:v>
                </c:pt>
                <c:pt idx="234">
                  <c:v>44314</c:v>
                </c:pt>
                <c:pt idx="235">
                  <c:v>44315</c:v>
                </c:pt>
                <c:pt idx="236">
                  <c:v>44316</c:v>
                </c:pt>
                <c:pt idx="237">
                  <c:v>44318</c:v>
                </c:pt>
                <c:pt idx="238">
                  <c:v>44319</c:v>
                </c:pt>
                <c:pt idx="239">
                  <c:v>44320</c:v>
                </c:pt>
                <c:pt idx="240">
                  <c:v>44321</c:v>
                </c:pt>
                <c:pt idx="241">
                  <c:v>44322</c:v>
                </c:pt>
                <c:pt idx="242">
                  <c:v>44323</c:v>
                </c:pt>
                <c:pt idx="243">
                  <c:v>44324</c:v>
                </c:pt>
                <c:pt idx="244">
                  <c:v>44325</c:v>
                </c:pt>
                <c:pt idx="245">
                  <c:v>44326</c:v>
                </c:pt>
                <c:pt idx="246">
                  <c:v>44327</c:v>
                </c:pt>
                <c:pt idx="247">
                  <c:v>44329</c:v>
                </c:pt>
                <c:pt idx="248">
                  <c:v>44330</c:v>
                </c:pt>
                <c:pt idx="249">
                  <c:v>44331</c:v>
                </c:pt>
                <c:pt idx="250">
                  <c:v>44333</c:v>
                </c:pt>
                <c:pt idx="251">
                  <c:v>44334</c:v>
                </c:pt>
                <c:pt idx="252">
                  <c:v>44335</c:v>
                </c:pt>
                <c:pt idx="253">
                  <c:v>44336</c:v>
                </c:pt>
                <c:pt idx="254">
                  <c:v>44337</c:v>
                </c:pt>
                <c:pt idx="255">
                  <c:v>44340</c:v>
                </c:pt>
                <c:pt idx="256">
                  <c:v>44341</c:v>
                </c:pt>
                <c:pt idx="257">
                  <c:v>44342</c:v>
                </c:pt>
                <c:pt idx="258">
                  <c:v>44343</c:v>
                </c:pt>
                <c:pt idx="259">
                  <c:v>44347</c:v>
                </c:pt>
                <c:pt idx="260">
                  <c:v>44349</c:v>
                </c:pt>
                <c:pt idx="261">
                  <c:v>44350</c:v>
                </c:pt>
                <c:pt idx="262">
                  <c:v>44354</c:v>
                </c:pt>
                <c:pt idx="263">
                  <c:v>44358</c:v>
                </c:pt>
                <c:pt idx="264">
                  <c:v>44364</c:v>
                </c:pt>
                <c:pt idx="265">
                  <c:v>44370</c:v>
                </c:pt>
                <c:pt idx="266">
                  <c:v>44371</c:v>
                </c:pt>
                <c:pt idx="267">
                  <c:v>44375</c:v>
                </c:pt>
                <c:pt idx="268">
                  <c:v>44377</c:v>
                </c:pt>
                <c:pt idx="269">
                  <c:v>44378</c:v>
                </c:pt>
                <c:pt idx="270">
                  <c:v>44381</c:v>
                </c:pt>
                <c:pt idx="271">
                  <c:v>44384</c:v>
                </c:pt>
                <c:pt idx="272">
                  <c:v>44385</c:v>
                </c:pt>
                <c:pt idx="273">
                  <c:v>44388</c:v>
                </c:pt>
                <c:pt idx="274">
                  <c:v>44398</c:v>
                </c:pt>
                <c:pt idx="275">
                  <c:v>44401</c:v>
                </c:pt>
                <c:pt idx="276">
                  <c:v>44404</c:v>
                </c:pt>
                <c:pt idx="277">
                  <c:v>44405</c:v>
                </c:pt>
                <c:pt idx="278">
                  <c:v>44416</c:v>
                </c:pt>
                <c:pt idx="279">
                  <c:v>44419</c:v>
                </c:pt>
                <c:pt idx="280">
                  <c:v>44424</c:v>
                </c:pt>
                <c:pt idx="281">
                  <c:v>44425</c:v>
                </c:pt>
                <c:pt idx="282">
                  <c:v>44427</c:v>
                </c:pt>
                <c:pt idx="283">
                  <c:v>44431</c:v>
                </c:pt>
                <c:pt idx="284">
                  <c:v>44434</c:v>
                </c:pt>
                <c:pt idx="285">
                  <c:v>44435</c:v>
                </c:pt>
                <c:pt idx="286">
                  <c:v>44436</c:v>
                </c:pt>
                <c:pt idx="287">
                  <c:v>44440</c:v>
                </c:pt>
                <c:pt idx="288">
                  <c:v>44441</c:v>
                </c:pt>
                <c:pt idx="289">
                  <c:v>44442</c:v>
                </c:pt>
                <c:pt idx="290">
                  <c:v>44443</c:v>
                </c:pt>
                <c:pt idx="291">
                  <c:v>44445</c:v>
                </c:pt>
                <c:pt idx="292">
                  <c:v>44446</c:v>
                </c:pt>
                <c:pt idx="293">
                  <c:v>44447</c:v>
                </c:pt>
                <c:pt idx="294">
                  <c:v>44448</c:v>
                </c:pt>
                <c:pt idx="295">
                  <c:v>44449</c:v>
                </c:pt>
                <c:pt idx="296">
                  <c:v>44451</c:v>
                </c:pt>
                <c:pt idx="297">
                  <c:v>44452</c:v>
                </c:pt>
                <c:pt idx="298">
                  <c:v>44453</c:v>
                </c:pt>
                <c:pt idx="299">
                  <c:v>44457</c:v>
                </c:pt>
                <c:pt idx="300">
                  <c:v>44459</c:v>
                </c:pt>
                <c:pt idx="301">
                  <c:v>44460</c:v>
                </c:pt>
                <c:pt idx="302">
                  <c:v>44461</c:v>
                </c:pt>
                <c:pt idx="303">
                  <c:v>44464</c:v>
                </c:pt>
                <c:pt idx="304">
                  <c:v>44465</c:v>
                </c:pt>
                <c:pt idx="305">
                  <c:v>44466</c:v>
                </c:pt>
                <c:pt idx="306">
                  <c:v>44467</c:v>
                </c:pt>
                <c:pt idx="307">
                  <c:v>44468</c:v>
                </c:pt>
                <c:pt idx="308">
                  <c:v>44469</c:v>
                </c:pt>
                <c:pt idx="309">
                  <c:v>44470</c:v>
                </c:pt>
                <c:pt idx="310">
                  <c:v>44471</c:v>
                </c:pt>
                <c:pt idx="311">
                  <c:v>44472</c:v>
                </c:pt>
                <c:pt idx="312">
                  <c:v>44473</c:v>
                </c:pt>
                <c:pt idx="313">
                  <c:v>44474</c:v>
                </c:pt>
                <c:pt idx="314">
                  <c:v>44475</c:v>
                </c:pt>
                <c:pt idx="315">
                  <c:v>44476</c:v>
                </c:pt>
                <c:pt idx="316">
                  <c:v>44477</c:v>
                </c:pt>
                <c:pt idx="317">
                  <c:v>44478</c:v>
                </c:pt>
                <c:pt idx="318">
                  <c:v>44480</c:v>
                </c:pt>
                <c:pt idx="319">
                  <c:v>44481</c:v>
                </c:pt>
                <c:pt idx="320">
                  <c:v>44482</c:v>
                </c:pt>
                <c:pt idx="321">
                  <c:v>44483</c:v>
                </c:pt>
                <c:pt idx="322">
                  <c:v>44484</c:v>
                </c:pt>
                <c:pt idx="323">
                  <c:v>44485</c:v>
                </c:pt>
                <c:pt idx="324">
                  <c:v>44486</c:v>
                </c:pt>
                <c:pt idx="325">
                  <c:v>44487</c:v>
                </c:pt>
                <c:pt idx="326">
                  <c:v>44488</c:v>
                </c:pt>
                <c:pt idx="327">
                  <c:v>44489</c:v>
                </c:pt>
                <c:pt idx="328">
                  <c:v>44490</c:v>
                </c:pt>
                <c:pt idx="329">
                  <c:v>44491</c:v>
                </c:pt>
                <c:pt idx="330">
                  <c:v>44492</c:v>
                </c:pt>
                <c:pt idx="331">
                  <c:v>44493</c:v>
                </c:pt>
                <c:pt idx="332">
                  <c:v>44494</c:v>
                </c:pt>
                <c:pt idx="333">
                  <c:v>44495</c:v>
                </c:pt>
                <c:pt idx="334">
                  <c:v>44496</c:v>
                </c:pt>
                <c:pt idx="335">
                  <c:v>44497</c:v>
                </c:pt>
                <c:pt idx="336">
                  <c:v>44498</c:v>
                </c:pt>
                <c:pt idx="337">
                  <c:v>44499</c:v>
                </c:pt>
                <c:pt idx="338">
                  <c:v>44500</c:v>
                </c:pt>
                <c:pt idx="339">
                  <c:v>44501</c:v>
                </c:pt>
                <c:pt idx="340">
                  <c:v>44502</c:v>
                </c:pt>
                <c:pt idx="341">
                  <c:v>44503</c:v>
                </c:pt>
                <c:pt idx="342">
                  <c:v>44504</c:v>
                </c:pt>
                <c:pt idx="343">
                  <c:v>44505</c:v>
                </c:pt>
                <c:pt idx="344">
                  <c:v>44506</c:v>
                </c:pt>
                <c:pt idx="345">
                  <c:v>44507</c:v>
                </c:pt>
                <c:pt idx="346">
                  <c:v>44508</c:v>
                </c:pt>
                <c:pt idx="347">
                  <c:v>44509</c:v>
                </c:pt>
                <c:pt idx="348">
                  <c:v>44510</c:v>
                </c:pt>
                <c:pt idx="349">
                  <c:v>44511</c:v>
                </c:pt>
                <c:pt idx="350">
                  <c:v>44512</c:v>
                </c:pt>
                <c:pt idx="351">
                  <c:v>44513</c:v>
                </c:pt>
                <c:pt idx="352">
                  <c:v>44514</c:v>
                </c:pt>
                <c:pt idx="353">
                  <c:v>44515</c:v>
                </c:pt>
                <c:pt idx="354">
                  <c:v>44516</c:v>
                </c:pt>
                <c:pt idx="355">
                  <c:v>44517</c:v>
                </c:pt>
                <c:pt idx="356">
                  <c:v>44518</c:v>
                </c:pt>
                <c:pt idx="357">
                  <c:v>44519</c:v>
                </c:pt>
                <c:pt idx="358">
                  <c:v>44520</c:v>
                </c:pt>
                <c:pt idx="359">
                  <c:v>44521</c:v>
                </c:pt>
                <c:pt idx="360">
                  <c:v>44522</c:v>
                </c:pt>
                <c:pt idx="361">
                  <c:v>44523</c:v>
                </c:pt>
                <c:pt idx="362">
                  <c:v>44524</c:v>
                </c:pt>
                <c:pt idx="363">
                  <c:v>44525</c:v>
                </c:pt>
                <c:pt idx="364">
                  <c:v>44526</c:v>
                </c:pt>
                <c:pt idx="365">
                  <c:v>44527</c:v>
                </c:pt>
                <c:pt idx="366">
                  <c:v>44528</c:v>
                </c:pt>
                <c:pt idx="367">
                  <c:v>44529</c:v>
                </c:pt>
                <c:pt idx="368">
                  <c:v>44530</c:v>
                </c:pt>
                <c:pt idx="369">
                  <c:v>44531</c:v>
                </c:pt>
                <c:pt idx="370">
                  <c:v>44532</c:v>
                </c:pt>
                <c:pt idx="371">
                  <c:v>44533</c:v>
                </c:pt>
                <c:pt idx="372">
                  <c:v>44534</c:v>
                </c:pt>
                <c:pt idx="373">
                  <c:v>44535</c:v>
                </c:pt>
                <c:pt idx="374">
                  <c:v>44536</c:v>
                </c:pt>
                <c:pt idx="375">
                  <c:v>44537</c:v>
                </c:pt>
                <c:pt idx="376">
                  <c:v>44538</c:v>
                </c:pt>
                <c:pt idx="377">
                  <c:v>44539</c:v>
                </c:pt>
                <c:pt idx="378">
                  <c:v>44540</c:v>
                </c:pt>
                <c:pt idx="379">
                  <c:v>44541</c:v>
                </c:pt>
                <c:pt idx="380">
                  <c:v>44542</c:v>
                </c:pt>
                <c:pt idx="381">
                  <c:v>44543</c:v>
                </c:pt>
                <c:pt idx="382">
                  <c:v>44544</c:v>
                </c:pt>
                <c:pt idx="383">
                  <c:v>44545</c:v>
                </c:pt>
                <c:pt idx="384">
                  <c:v>44546</c:v>
                </c:pt>
                <c:pt idx="385">
                  <c:v>44547</c:v>
                </c:pt>
                <c:pt idx="386">
                  <c:v>44548</c:v>
                </c:pt>
                <c:pt idx="387">
                  <c:v>44549</c:v>
                </c:pt>
                <c:pt idx="388">
                  <c:v>44550</c:v>
                </c:pt>
                <c:pt idx="389">
                  <c:v>44551</c:v>
                </c:pt>
                <c:pt idx="390">
                  <c:v>44552</c:v>
                </c:pt>
                <c:pt idx="391">
                  <c:v>44553</c:v>
                </c:pt>
                <c:pt idx="392">
                  <c:v>44554</c:v>
                </c:pt>
                <c:pt idx="393">
                  <c:v>44555</c:v>
                </c:pt>
                <c:pt idx="394">
                  <c:v>44556</c:v>
                </c:pt>
                <c:pt idx="395">
                  <c:v>44557</c:v>
                </c:pt>
                <c:pt idx="396">
                  <c:v>44558</c:v>
                </c:pt>
                <c:pt idx="397">
                  <c:v>44559</c:v>
                </c:pt>
                <c:pt idx="398">
                  <c:v>44560</c:v>
                </c:pt>
                <c:pt idx="399">
                  <c:v>44561</c:v>
                </c:pt>
                <c:pt idx="400">
                  <c:v>44562</c:v>
                </c:pt>
                <c:pt idx="401">
                  <c:v>44563</c:v>
                </c:pt>
                <c:pt idx="402">
                  <c:v>44564</c:v>
                </c:pt>
                <c:pt idx="403">
                  <c:v>44565</c:v>
                </c:pt>
                <c:pt idx="404">
                  <c:v>44566</c:v>
                </c:pt>
                <c:pt idx="405">
                  <c:v>44567</c:v>
                </c:pt>
                <c:pt idx="406">
                  <c:v>44568</c:v>
                </c:pt>
                <c:pt idx="407">
                  <c:v>44569</c:v>
                </c:pt>
                <c:pt idx="408">
                  <c:v>44570</c:v>
                </c:pt>
                <c:pt idx="409">
                  <c:v>44571</c:v>
                </c:pt>
                <c:pt idx="410">
                  <c:v>44572</c:v>
                </c:pt>
                <c:pt idx="411">
                  <c:v>44573</c:v>
                </c:pt>
                <c:pt idx="412">
                  <c:v>44574</c:v>
                </c:pt>
                <c:pt idx="413">
                  <c:v>44575</c:v>
                </c:pt>
                <c:pt idx="414">
                  <c:v>44576</c:v>
                </c:pt>
                <c:pt idx="415">
                  <c:v>44577</c:v>
                </c:pt>
                <c:pt idx="416">
                  <c:v>44578</c:v>
                </c:pt>
                <c:pt idx="417">
                  <c:v>44579</c:v>
                </c:pt>
                <c:pt idx="418">
                  <c:v>44580</c:v>
                </c:pt>
                <c:pt idx="419">
                  <c:v>44581</c:v>
                </c:pt>
                <c:pt idx="420">
                  <c:v>44582</c:v>
                </c:pt>
                <c:pt idx="421">
                  <c:v>44583</c:v>
                </c:pt>
                <c:pt idx="422">
                  <c:v>44584</c:v>
                </c:pt>
                <c:pt idx="423">
                  <c:v>44585</c:v>
                </c:pt>
                <c:pt idx="424">
                  <c:v>44586</c:v>
                </c:pt>
                <c:pt idx="425">
                  <c:v>44587</c:v>
                </c:pt>
                <c:pt idx="426">
                  <c:v>44588</c:v>
                </c:pt>
                <c:pt idx="427">
                  <c:v>44589</c:v>
                </c:pt>
                <c:pt idx="428">
                  <c:v>44590</c:v>
                </c:pt>
                <c:pt idx="429">
                  <c:v>44591</c:v>
                </c:pt>
                <c:pt idx="430">
                  <c:v>44592</c:v>
                </c:pt>
                <c:pt idx="431">
                  <c:v>44593</c:v>
                </c:pt>
                <c:pt idx="432">
                  <c:v>44594</c:v>
                </c:pt>
                <c:pt idx="433">
                  <c:v>44595</c:v>
                </c:pt>
                <c:pt idx="434">
                  <c:v>44596</c:v>
                </c:pt>
                <c:pt idx="435">
                  <c:v>44597</c:v>
                </c:pt>
                <c:pt idx="436">
                  <c:v>44598</c:v>
                </c:pt>
                <c:pt idx="437">
                  <c:v>44599</c:v>
                </c:pt>
                <c:pt idx="438">
                  <c:v>44600</c:v>
                </c:pt>
                <c:pt idx="439">
                  <c:v>44601</c:v>
                </c:pt>
                <c:pt idx="440">
                  <c:v>44602</c:v>
                </c:pt>
                <c:pt idx="441">
                  <c:v>44603</c:v>
                </c:pt>
                <c:pt idx="442">
                  <c:v>44604</c:v>
                </c:pt>
                <c:pt idx="443">
                  <c:v>44605</c:v>
                </c:pt>
                <c:pt idx="444">
                  <c:v>44606</c:v>
                </c:pt>
                <c:pt idx="445">
                  <c:v>44607</c:v>
                </c:pt>
                <c:pt idx="446">
                  <c:v>44608</c:v>
                </c:pt>
                <c:pt idx="447">
                  <c:v>44609</c:v>
                </c:pt>
                <c:pt idx="448">
                  <c:v>44610</c:v>
                </c:pt>
                <c:pt idx="449">
                  <c:v>44611</c:v>
                </c:pt>
                <c:pt idx="450">
                  <c:v>44612</c:v>
                </c:pt>
                <c:pt idx="451">
                  <c:v>44613</c:v>
                </c:pt>
                <c:pt idx="452">
                  <c:v>44614</c:v>
                </c:pt>
                <c:pt idx="453">
                  <c:v>44615</c:v>
                </c:pt>
                <c:pt idx="454">
                  <c:v>44616</c:v>
                </c:pt>
                <c:pt idx="455">
                  <c:v>44617</c:v>
                </c:pt>
                <c:pt idx="456">
                  <c:v>44618</c:v>
                </c:pt>
                <c:pt idx="457">
                  <c:v>44619</c:v>
                </c:pt>
                <c:pt idx="458">
                  <c:v>44620</c:v>
                </c:pt>
                <c:pt idx="459">
                  <c:v>44621</c:v>
                </c:pt>
                <c:pt idx="460">
                  <c:v>44622</c:v>
                </c:pt>
                <c:pt idx="461">
                  <c:v>44623</c:v>
                </c:pt>
                <c:pt idx="462">
                  <c:v>44624</c:v>
                </c:pt>
                <c:pt idx="463">
                  <c:v>44625</c:v>
                </c:pt>
                <c:pt idx="464">
                  <c:v>44626</c:v>
                </c:pt>
                <c:pt idx="465">
                  <c:v>44627</c:v>
                </c:pt>
                <c:pt idx="466">
                  <c:v>44628</c:v>
                </c:pt>
                <c:pt idx="467">
                  <c:v>44629</c:v>
                </c:pt>
                <c:pt idx="468">
                  <c:v>44630</c:v>
                </c:pt>
                <c:pt idx="469">
                  <c:v>44631</c:v>
                </c:pt>
              </c:numCache>
            </c:numRef>
          </c:cat>
          <c:val>
            <c:numRef>
              <c:f>Sheet1!$B$2:$B$471</c:f>
              <c:numCache>
                <c:formatCode>General</c:formatCode>
                <c:ptCount val="47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1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2</c:v>
                </c:pt>
                <c:pt idx="23">
                  <c:v>3</c:v>
                </c:pt>
                <c:pt idx="24">
                  <c:v>1</c:v>
                </c:pt>
                <c:pt idx="25">
                  <c:v>4</c:v>
                </c:pt>
                <c:pt idx="26">
                  <c:v>4</c:v>
                </c:pt>
                <c:pt idx="27">
                  <c:v>7</c:v>
                </c:pt>
                <c:pt idx="28">
                  <c:v>5</c:v>
                </c:pt>
                <c:pt idx="29">
                  <c:v>5</c:v>
                </c:pt>
                <c:pt idx="30">
                  <c:v>23</c:v>
                </c:pt>
                <c:pt idx="31">
                  <c:v>8</c:v>
                </c:pt>
                <c:pt idx="32">
                  <c:v>7</c:v>
                </c:pt>
                <c:pt idx="33">
                  <c:v>2</c:v>
                </c:pt>
                <c:pt idx="34">
                  <c:v>7</c:v>
                </c:pt>
                <c:pt idx="35">
                  <c:v>3</c:v>
                </c:pt>
                <c:pt idx="36">
                  <c:v>0</c:v>
                </c:pt>
                <c:pt idx="37">
                  <c:v>8</c:v>
                </c:pt>
                <c:pt idx="38">
                  <c:v>13</c:v>
                </c:pt>
                <c:pt idx="39">
                  <c:v>13</c:v>
                </c:pt>
                <c:pt idx="40">
                  <c:v>15</c:v>
                </c:pt>
                <c:pt idx="41">
                  <c:v>18</c:v>
                </c:pt>
                <c:pt idx="42">
                  <c:v>9</c:v>
                </c:pt>
                <c:pt idx="43">
                  <c:v>5</c:v>
                </c:pt>
                <c:pt idx="44">
                  <c:v>18</c:v>
                </c:pt>
                <c:pt idx="45">
                  <c:v>15</c:v>
                </c:pt>
                <c:pt idx="46">
                  <c:v>21</c:v>
                </c:pt>
                <c:pt idx="47">
                  <c:v>18</c:v>
                </c:pt>
                <c:pt idx="48">
                  <c:v>28</c:v>
                </c:pt>
                <c:pt idx="49">
                  <c:v>7</c:v>
                </c:pt>
                <c:pt idx="50">
                  <c:v>7</c:v>
                </c:pt>
                <c:pt idx="51">
                  <c:v>28</c:v>
                </c:pt>
                <c:pt idx="52">
                  <c:v>19</c:v>
                </c:pt>
                <c:pt idx="53">
                  <c:v>11</c:v>
                </c:pt>
                <c:pt idx="54">
                  <c:v>21</c:v>
                </c:pt>
                <c:pt idx="55">
                  <c:v>27</c:v>
                </c:pt>
                <c:pt idx="56">
                  <c:v>9</c:v>
                </c:pt>
                <c:pt idx="57">
                  <c:v>14</c:v>
                </c:pt>
                <c:pt idx="58">
                  <c:v>15</c:v>
                </c:pt>
                <c:pt idx="59">
                  <c:v>13</c:v>
                </c:pt>
                <c:pt idx="60">
                  <c:v>23</c:v>
                </c:pt>
                <c:pt idx="61">
                  <c:v>9</c:v>
                </c:pt>
                <c:pt idx="62">
                  <c:v>16</c:v>
                </c:pt>
                <c:pt idx="63">
                  <c:v>10</c:v>
                </c:pt>
                <c:pt idx="64">
                  <c:v>7</c:v>
                </c:pt>
                <c:pt idx="65">
                  <c:v>10</c:v>
                </c:pt>
                <c:pt idx="66">
                  <c:v>16</c:v>
                </c:pt>
                <c:pt idx="67">
                  <c:v>25</c:v>
                </c:pt>
                <c:pt idx="68">
                  <c:v>14</c:v>
                </c:pt>
                <c:pt idx="69">
                  <c:v>21</c:v>
                </c:pt>
                <c:pt idx="70">
                  <c:v>9</c:v>
                </c:pt>
                <c:pt idx="71">
                  <c:v>5</c:v>
                </c:pt>
                <c:pt idx="72">
                  <c:v>18</c:v>
                </c:pt>
                <c:pt idx="73">
                  <c:v>9</c:v>
                </c:pt>
                <c:pt idx="74">
                  <c:v>12</c:v>
                </c:pt>
                <c:pt idx="75">
                  <c:v>12</c:v>
                </c:pt>
                <c:pt idx="76">
                  <c:v>13</c:v>
                </c:pt>
                <c:pt idx="77">
                  <c:v>4</c:v>
                </c:pt>
                <c:pt idx="78">
                  <c:v>3</c:v>
                </c:pt>
                <c:pt idx="79">
                  <c:v>15</c:v>
                </c:pt>
                <c:pt idx="80">
                  <c:v>9</c:v>
                </c:pt>
                <c:pt idx="81">
                  <c:v>9</c:v>
                </c:pt>
                <c:pt idx="82">
                  <c:v>10</c:v>
                </c:pt>
                <c:pt idx="83">
                  <c:v>5</c:v>
                </c:pt>
                <c:pt idx="84">
                  <c:v>1</c:v>
                </c:pt>
                <c:pt idx="85">
                  <c:v>2</c:v>
                </c:pt>
                <c:pt idx="86">
                  <c:v>10</c:v>
                </c:pt>
                <c:pt idx="87">
                  <c:v>9</c:v>
                </c:pt>
                <c:pt idx="88">
                  <c:v>5</c:v>
                </c:pt>
                <c:pt idx="89">
                  <c:v>3</c:v>
                </c:pt>
                <c:pt idx="90">
                  <c:v>9</c:v>
                </c:pt>
                <c:pt idx="91">
                  <c:v>2</c:v>
                </c:pt>
                <c:pt idx="92">
                  <c:v>1</c:v>
                </c:pt>
                <c:pt idx="93">
                  <c:v>3</c:v>
                </c:pt>
                <c:pt idx="94">
                  <c:v>4</c:v>
                </c:pt>
                <c:pt idx="95">
                  <c:v>6</c:v>
                </c:pt>
                <c:pt idx="96">
                  <c:v>6</c:v>
                </c:pt>
                <c:pt idx="97">
                  <c:v>6</c:v>
                </c:pt>
                <c:pt idx="98">
                  <c:v>3</c:v>
                </c:pt>
                <c:pt idx="99">
                  <c:v>3</c:v>
                </c:pt>
                <c:pt idx="100">
                  <c:v>4</c:v>
                </c:pt>
                <c:pt idx="101">
                  <c:v>3</c:v>
                </c:pt>
                <c:pt idx="102">
                  <c:v>6</c:v>
                </c:pt>
                <c:pt idx="103">
                  <c:v>4</c:v>
                </c:pt>
                <c:pt idx="104">
                  <c:v>7</c:v>
                </c:pt>
                <c:pt idx="105">
                  <c:v>6</c:v>
                </c:pt>
                <c:pt idx="106">
                  <c:v>1</c:v>
                </c:pt>
                <c:pt idx="107">
                  <c:v>5</c:v>
                </c:pt>
                <c:pt idx="108">
                  <c:v>10</c:v>
                </c:pt>
                <c:pt idx="109">
                  <c:v>2</c:v>
                </c:pt>
                <c:pt idx="110">
                  <c:v>1</c:v>
                </c:pt>
                <c:pt idx="111">
                  <c:v>6</c:v>
                </c:pt>
                <c:pt idx="112">
                  <c:v>5</c:v>
                </c:pt>
                <c:pt idx="113">
                  <c:v>7</c:v>
                </c:pt>
                <c:pt idx="114">
                  <c:v>4</c:v>
                </c:pt>
                <c:pt idx="115">
                  <c:v>6</c:v>
                </c:pt>
                <c:pt idx="116">
                  <c:v>8</c:v>
                </c:pt>
                <c:pt idx="117">
                  <c:v>7</c:v>
                </c:pt>
                <c:pt idx="118">
                  <c:v>4</c:v>
                </c:pt>
                <c:pt idx="119">
                  <c:v>5</c:v>
                </c:pt>
                <c:pt idx="120">
                  <c:v>1</c:v>
                </c:pt>
                <c:pt idx="121">
                  <c:v>9</c:v>
                </c:pt>
                <c:pt idx="122">
                  <c:v>5</c:v>
                </c:pt>
                <c:pt idx="123">
                  <c:v>4</c:v>
                </c:pt>
                <c:pt idx="124">
                  <c:v>7</c:v>
                </c:pt>
                <c:pt idx="125">
                  <c:v>8</c:v>
                </c:pt>
                <c:pt idx="126">
                  <c:v>3</c:v>
                </c:pt>
                <c:pt idx="127">
                  <c:v>2</c:v>
                </c:pt>
                <c:pt idx="128">
                  <c:v>8</c:v>
                </c:pt>
                <c:pt idx="129">
                  <c:v>4</c:v>
                </c:pt>
                <c:pt idx="130">
                  <c:v>3</c:v>
                </c:pt>
                <c:pt idx="131">
                  <c:v>3</c:v>
                </c:pt>
                <c:pt idx="132">
                  <c:v>12</c:v>
                </c:pt>
                <c:pt idx="133">
                  <c:v>4</c:v>
                </c:pt>
                <c:pt idx="134">
                  <c:v>2</c:v>
                </c:pt>
                <c:pt idx="135">
                  <c:v>6</c:v>
                </c:pt>
                <c:pt idx="136">
                  <c:v>4</c:v>
                </c:pt>
                <c:pt idx="137">
                  <c:v>8</c:v>
                </c:pt>
                <c:pt idx="138">
                  <c:v>5</c:v>
                </c:pt>
                <c:pt idx="139">
                  <c:v>5</c:v>
                </c:pt>
                <c:pt idx="140">
                  <c:v>0</c:v>
                </c:pt>
                <c:pt idx="141">
                  <c:v>3</c:v>
                </c:pt>
                <c:pt idx="142">
                  <c:v>7</c:v>
                </c:pt>
                <c:pt idx="143">
                  <c:v>1</c:v>
                </c:pt>
                <c:pt idx="144">
                  <c:v>2</c:v>
                </c:pt>
                <c:pt idx="145">
                  <c:v>3</c:v>
                </c:pt>
                <c:pt idx="146">
                  <c:v>1</c:v>
                </c:pt>
                <c:pt idx="147">
                  <c:v>2</c:v>
                </c:pt>
                <c:pt idx="148">
                  <c:v>1</c:v>
                </c:pt>
                <c:pt idx="149">
                  <c:v>3</c:v>
                </c:pt>
                <c:pt idx="150">
                  <c:v>3</c:v>
                </c:pt>
                <c:pt idx="151">
                  <c:v>2</c:v>
                </c:pt>
                <c:pt idx="152">
                  <c:v>4</c:v>
                </c:pt>
                <c:pt idx="153">
                  <c:v>2</c:v>
                </c:pt>
                <c:pt idx="154">
                  <c:v>4</c:v>
                </c:pt>
                <c:pt idx="155">
                  <c:v>1</c:v>
                </c:pt>
                <c:pt idx="156">
                  <c:v>3</c:v>
                </c:pt>
                <c:pt idx="157">
                  <c:v>2</c:v>
                </c:pt>
                <c:pt idx="158">
                  <c:v>2</c:v>
                </c:pt>
                <c:pt idx="159">
                  <c:v>3</c:v>
                </c:pt>
                <c:pt idx="160">
                  <c:v>3</c:v>
                </c:pt>
                <c:pt idx="161">
                  <c:v>0</c:v>
                </c:pt>
                <c:pt idx="162">
                  <c:v>1</c:v>
                </c:pt>
                <c:pt idx="163">
                  <c:v>2</c:v>
                </c:pt>
                <c:pt idx="164">
                  <c:v>2</c:v>
                </c:pt>
                <c:pt idx="165">
                  <c:v>3</c:v>
                </c:pt>
                <c:pt idx="166">
                  <c:v>2</c:v>
                </c:pt>
                <c:pt idx="167">
                  <c:v>0</c:v>
                </c:pt>
                <c:pt idx="168">
                  <c:v>6</c:v>
                </c:pt>
                <c:pt idx="169">
                  <c:v>1</c:v>
                </c:pt>
                <c:pt idx="170">
                  <c:v>1</c:v>
                </c:pt>
                <c:pt idx="171">
                  <c:v>4</c:v>
                </c:pt>
                <c:pt idx="172">
                  <c:v>1</c:v>
                </c:pt>
                <c:pt idx="173">
                  <c:v>0</c:v>
                </c:pt>
                <c:pt idx="174">
                  <c:v>1</c:v>
                </c:pt>
                <c:pt idx="175">
                  <c:v>1</c:v>
                </c:pt>
                <c:pt idx="176">
                  <c:v>0</c:v>
                </c:pt>
                <c:pt idx="177">
                  <c:v>2</c:v>
                </c:pt>
                <c:pt idx="178">
                  <c:v>4</c:v>
                </c:pt>
                <c:pt idx="179">
                  <c:v>1</c:v>
                </c:pt>
                <c:pt idx="180">
                  <c:v>1</c:v>
                </c:pt>
                <c:pt idx="181">
                  <c:v>3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2</c:v>
                </c:pt>
                <c:pt idx="186">
                  <c:v>4</c:v>
                </c:pt>
                <c:pt idx="187">
                  <c:v>1</c:v>
                </c:pt>
                <c:pt idx="188">
                  <c:v>0</c:v>
                </c:pt>
                <c:pt idx="189">
                  <c:v>1</c:v>
                </c:pt>
                <c:pt idx="190">
                  <c:v>1</c:v>
                </c:pt>
                <c:pt idx="191">
                  <c:v>1</c:v>
                </c:pt>
                <c:pt idx="192">
                  <c:v>2</c:v>
                </c:pt>
                <c:pt idx="193">
                  <c:v>1</c:v>
                </c:pt>
                <c:pt idx="194">
                  <c:v>3</c:v>
                </c:pt>
                <c:pt idx="195">
                  <c:v>0</c:v>
                </c:pt>
                <c:pt idx="196">
                  <c:v>1</c:v>
                </c:pt>
                <c:pt idx="197">
                  <c:v>1</c:v>
                </c:pt>
                <c:pt idx="198">
                  <c:v>1</c:v>
                </c:pt>
                <c:pt idx="199">
                  <c:v>1</c:v>
                </c:pt>
                <c:pt idx="200">
                  <c:v>1</c:v>
                </c:pt>
                <c:pt idx="201">
                  <c:v>2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1</c:v>
                </c:pt>
                <c:pt idx="207">
                  <c:v>1</c:v>
                </c:pt>
                <c:pt idx="208">
                  <c:v>0</c:v>
                </c:pt>
                <c:pt idx="209">
                  <c:v>0</c:v>
                </c:pt>
                <c:pt idx="210">
                  <c:v>1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2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1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2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2</c:v>
                </c:pt>
                <c:pt idx="245">
                  <c:v>0</c:v>
                </c:pt>
                <c:pt idx="246">
                  <c:v>0</c:v>
                </c:pt>
                <c:pt idx="247">
                  <c:v>0</c:v>
                </c:pt>
                <c:pt idx="248">
                  <c:v>1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1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1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1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1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1</c:v>
                </c:pt>
                <c:pt idx="319">
                  <c:v>1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1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3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1</c:v>
                </c:pt>
                <c:pt idx="334">
                  <c:v>0</c:v>
                </c:pt>
                <c:pt idx="335">
                  <c:v>0</c:v>
                </c:pt>
                <c:pt idx="336">
                  <c:v>1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1</c:v>
                </c:pt>
                <c:pt idx="341">
                  <c:v>0</c:v>
                </c:pt>
                <c:pt idx="342">
                  <c:v>1</c:v>
                </c:pt>
                <c:pt idx="343">
                  <c:v>2</c:v>
                </c:pt>
                <c:pt idx="344">
                  <c:v>2</c:v>
                </c:pt>
                <c:pt idx="345">
                  <c:v>1</c:v>
                </c:pt>
                <c:pt idx="346">
                  <c:v>0</c:v>
                </c:pt>
                <c:pt idx="347">
                  <c:v>1</c:v>
                </c:pt>
                <c:pt idx="348">
                  <c:v>0</c:v>
                </c:pt>
                <c:pt idx="349">
                  <c:v>1</c:v>
                </c:pt>
                <c:pt idx="350">
                  <c:v>0</c:v>
                </c:pt>
                <c:pt idx="351">
                  <c:v>3</c:v>
                </c:pt>
                <c:pt idx="352">
                  <c:v>0</c:v>
                </c:pt>
                <c:pt idx="353">
                  <c:v>1</c:v>
                </c:pt>
                <c:pt idx="354">
                  <c:v>0</c:v>
                </c:pt>
                <c:pt idx="355">
                  <c:v>2</c:v>
                </c:pt>
                <c:pt idx="356">
                  <c:v>2</c:v>
                </c:pt>
                <c:pt idx="357">
                  <c:v>1</c:v>
                </c:pt>
                <c:pt idx="358">
                  <c:v>1</c:v>
                </c:pt>
                <c:pt idx="359">
                  <c:v>0</c:v>
                </c:pt>
                <c:pt idx="360">
                  <c:v>7</c:v>
                </c:pt>
                <c:pt idx="361">
                  <c:v>3</c:v>
                </c:pt>
                <c:pt idx="362">
                  <c:v>1</c:v>
                </c:pt>
                <c:pt idx="363">
                  <c:v>2</c:v>
                </c:pt>
                <c:pt idx="364">
                  <c:v>2</c:v>
                </c:pt>
                <c:pt idx="365">
                  <c:v>0</c:v>
                </c:pt>
                <c:pt idx="366">
                  <c:v>5</c:v>
                </c:pt>
                <c:pt idx="367">
                  <c:v>0</c:v>
                </c:pt>
                <c:pt idx="368">
                  <c:v>1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0</c:v>
                </c:pt>
                <c:pt idx="373">
                  <c:v>1</c:v>
                </c:pt>
                <c:pt idx="374">
                  <c:v>1</c:v>
                </c:pt>
                <c:pt idx="375">
                  <c:v>0</c:v>
                </c:pt>
                <c:pt idx="376">
                  <c:v>0</c:v>
                </c:pt>
                <c:pt idx="377">
                  <c:v>1</c:v>
                </c:pt>
                <c:pt idx="378">
                  <c:v>1</c:v>
                </c:pt>
                <c:pt idx="379">
                  <c:v>0</c:v>
                </c:pt>
                <c:pt idx="380">
                  <c:v>1</c:v>
                </c:pt>
                <c:pt idx="381">
                  <c:v>2</c:v>
                </c:pt>
                <c:pt idx="382">
                  <c:v>1</c:v>
                </c:pt>
                <c:pt idx="383">
                  <c:v>0</c:v>
                </c:pt>
                <c:pt idx="384">
                  <c:v>0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1</c:v>
                </c:pt>
                <c:pt idx="389">
                  <c:v>1</c:v>
                </c:pt>
                <c:pt idx="390">
                  <c:v>0</c:v>
                </c:pt>
                <c:pt idx="391">
                  <c:v>0</c:v>
                </c:pt>
                <c:pt idx="392">
                  <c:v>2</c:v>
                </c:pt>
                <c:pt idx="393">
                  <c:v>0</c:v>
                </c:pt>
                <c:pt idx="394">
                  <c:v>1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0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1</c:v>
                </c:pt>
                <c:pt idx="407">
                  <c:v>0</c:v>
                </c:pt>
                <c:pt idx="408">
                  <c:v>1</c:v>
                </c:pt>
                <c:pt idx="409">
                  <c:v>0</c:v>
                </c:pt>
                <c:pt idx="410">
                  <c:v>0</c:v>
                </c:pt>
                <c:pt idx="411">
                  <c:v>0</c:v>
                </c:pt>
                <c:pt idx="412">
                  <c:v>0</c:v>
                </c:pt>
                <c:pt idx="413">
                  <c:v>0</c:v>
                </c:pt>
                <c:pt idx="414">
                  <c:v>0</c:v>
                </c:pt>
                <c:pt idx="415">
                  <c:v>0</c:v>
                </c:pt>
                <c:pt idx="416">
                  <c:v>0</c:v>
                </c:pt>
                <c:pt idx="417">
                  <c:v>1</c:v>
                </c:pt>
                <c:pt idx="418">
                  <c:v>0</c:v>
                </c:pt>
                <c:pt idx="419">
                  <c:v>0</c:v>
                </c:pt>
                <c:pt idx="420">
                  <c:v>0</c:v>
                </c:pt>
                <c:pt idx="421">
                  <c:v>3</c:v>
                </c:pt>
                <c:pt idx="422">
                  <c:v>0</c:v>
                </c:pt>
                <c:pt idx="423">
                  <c:v>0</c:v>
                </c:pt>
                <c:pt idx="424">
                  <c:v>0</c:v>
                </c:pt>
                <c:pt idx="425">
                  <c:v>0</c:v>
                </c:pt>
                <c:pt idx="426">
                  <c:v>0</c:v>
                </c:pt>
                <c:pt idx="427">
                  <c:v>0</c:v>
                </c:pt>
                <c:pt idx="428">
                  <c:v>0</c:v>
                </c:pt>
                <c:pt idx="429">
                  <c:v>3</c:v>
                </c:pt>
                <c:pt idx="430">
                  <c:v>0</c:v>
                </c:pt>
                <c:pt idx="431">
                  <c:v>1</c:v>
                </c:pt>
                <c:pt idx="432">
                  <c:v>0</c:v>
                </c:pt>
                <c:pt idx="433">
                  <c:v>0</c:v>
                </c:pt>
                <c:pt idx="434">
                  <c:v>1</c:v>
                </c:pt>
                <c:pt idx="435">
                  <c:v>4</c:v>
                </c:pt>
                <c:pt idx="436">
                  <c:v>1</c:v>
                </c:pt>
                <c:pt idx="437">
                  <c:v>2</c:v>
                </c:pt>
                <c:pt idx="438">
                  <c:v>2</c:v>
                </c:pt>
                <c:pt idx="439">
                  <c:v>1</c:v>
                </c:pt>
                <c:pt idx="440">
                  <c:v>1</c:v>
                </c:pt>
                <c:pt idx="441">
                  <c:v>1</c:v>
                </c:pt>
                <c:pt idx="442">
                  <c:v>1</c:v>
                </c:pt>
                <c:pt idx="443">
                  <c:v>0</c:v>
                </c:pt>
                <c:pt idx="444">
                  <c:v>0</c:v>
                </c:pt>
                <c:pt idx="445">
                  <c:v>1</c:v>
                </c:pt>
                <c:pt idx="446">
                  <c:v>1</c:v>
                </c:pt>
                <c:pt idx="447">
                  <c:v>0</c:v>
                </c:pt>
                <c:pt idx="448">
                  <c:v>2</c:v>
                </c:pt>
                <c:pt idx="449">
                  <c:v>2</c:v>
                </c:pt>
                <c:pt idx="450">
                  <c:v>0</c:v>
                </c:pt>
                <c:pt idx="451">
                  <c:v>1</c:v>
                </c:pt>
                <c:pt idx="452">
                  <c:v>1</c:v>
                </c:pt>
                <c:pt idx="453">
                  <c:v>0</c:v>
                </c:pt>
                <c:pt idx="454">
                  <c:v>1</c:v>
                </c:pt>
                <c:pt idx="455">
                  <c:v>1</c:v>
                </c:pt>
                <c:pt idx="456">
                  <c:v>2</c:v>
                </c:pt>
                <c:pt idx="457">
                  <c:v>0</c:v>
                </c:pt>
                <c:pt idx="458">
                  <c:v>0</c:v>
                </c:pt>
                <c:pt idx="459">
                  <c:v>0</c:v>
                </c:pt>
                <c:pt idx="460">
                  <c:v>0</c:v>
                </c:pt>
                <c:pt idx="461">
                  <c:v>0</c:v>
                </c:pt>
                <c:pt idx="462">
                  <c:v>0</c:v>
                </c:pt>
                <c:pt idx="463">
                  <c:v>1</c:v>
                </c:pt>
                <c:pt idx="464">
                  <c:v>1</c:v>
                </c:pt>
                <c:pt idx="465">
                  <c:v>1</c:v>
                </c:pt>
                <c:pt idx="466">
                  <c:v>0</c:v>
                </c:pt>
                <c:pt idx="467">
                  <c:v>0</c:v>
                </c:pt>
                <c:pt idx="468">
                  <c:v>0</c:v>
                </c:pt>
                <c:pt idx="46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7.4.–
3.5.</c:v>
                </c:pt>
                <c:pt idx="1">
                  <c:v>4.5.–
10.5.</c:v>
                </c:pt>
                <c:pt idx="2">
                  <c:v>11.5.–
17.5.</c:v>
                </c:pt>
                <c:pt idx="3">
                  <c:v>18.5.–
24.5.</c:v>
                </c:pt>
                <c:pt idx="4">
                  <c:v>25.5.–
31.5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90</c:v>
                </c:pt>
                <c:pt idx="3">
                  <c:v>2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6.–
7.6.</c:v>
                </c:pt>
                <c:pt idx="1">
                  <c:v>8.6.–
14.6.</c:v>
                </c:pt>
                <c:pt idx="2">
                  <c:v>15.6.–
21.6.</c:v>
                </c:pt>
                <c:pt idx="3">
                  <c:v>22.6.–
28.6.</c:v>
                </c:pt>
                <c:pt idx="4">
                  <c:v>29.6.–
5.7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5</c:v>
                </c:pt>
                <c:pt idx="1">
                  <c:v>0</c:v>
                </c:pt>
                <c:pt idx="2">
                  <c:v>45</c:v>
                </c:pt>
                <c:pt idx="3">
                  <c:v>2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6.–
5.7.</c:v>
                </c:pt>
                <c:pt idx="1">
                  <c:v>6.7.–
12.7.</c:v>
                </c:pt>
                <c:pt idx="2">
                  <c:v>13.7.–
19.7.</c:v>
                </c:pt>
                <c:pt idx="3">
                  <c:v>20.7.–
26.7.</c:v>
                </c:pt>
                <c:pt idx="4">
                  <c:v>27.7.–
2.8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110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7.7.–
2.8.</c:v>
                </c:pt>
                <c:pt idx="1">
                  <c:v>3.8.–
9.8.</c:v>
                </c:pt>
                <c:pt idx="2">
                  <c:v>10.8.–
16.8.</c:v>
                </c:pt>
                <c:pt idx="3">
                  <c:v>17.8.–
23.8.</c:v>
                </c:pt>
                <c:pt idx="4">
                  <c:v>24.8.–
30.8.</c:v>
                </c:pt>
                <c:pt idx="5">
                  <c:v>31.8.–
6.9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</c:v>
                </c:pt>
                <c:pt idx="1">
                  <c:v>86</c:v>
                </c:pt>
                <c:pt idx="2">
                  <c:v>40</c:v>
                </c:pt>
                <c:pt idx="3">
                  <c:v>44</c:v>
                </c:pt>
                <c:pt idx="4">
                  <c:v>1</c:v>
                </c:pt>
                <c:pt idx="5">
                  <c:v>1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8.–
6.9.</c:v>
                </c:pt>
                <c:pt idx="1">
                  <c:v>7.9.–
13.9.</c:v>
                </c:pt>
                <c:pt idx="2">
                  <c:v>14.9.–
20.9.</c:v>
                </c:pt>
                <c:pt idx="3">
                  <c:v>21.9.–
27.9.</c:v>
                </c:pt>
                <c:pt idx="4">
                  <c:v>28.9.–
4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96</c:v>
                </c:pt>
                <c:pt idx="1">
                  <c:v>138</c:v>
                </c:pt>
                <c:pt idx="2">
                  <c:v>100</c:v>
                </c:pt>
                <c:pt idx="3">
                  <c:v>627</c:v>
                </c:pt>
                <c:pt idx="4">
                  <c:v>2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11.–
7.11.</c:v>
                </c:pt>
                <c:pt idx="1">
                  <c:v>8.11.–
14.11.</c:v>
                </c:pt>
                <c:pt idx="2">
                  <c:v>15.11.–
21.11.</c:v>
                </c:pt>
                <c:pt idx="3">
                  <c:v>22.11.–
28.11.</c:v>
                </c:pt>
                <c:pt idx="4">
                  <c:v>29.11.–
5.12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13</c:v>
                </c:pt>
                <c:pt idx="1">
                  <c:v>90</c:v>
                </c:pt>
                <c:pt idx="2">
                  <c:v>107</c:v>
                </c:pt>
                <c:pt idx="3">
                  <c:v>119</c:v>
                </c:pt>
                <c:pt idx="4">
                  <c:v>1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9.–
4.10.</c:v>
                </c:pt>
                <c:pt idx="1">
                  <c:v>5.10.–
11.10.</c:v>
                </c:pt>
                <c:pt idx="2">
                  <c:v>12.10.–
18.10.</c:v>
                </c:pt>
                <c:pt idx="3">
                  <c:v>19.10.–
25.10.</c:v>
                </c:pt>
                <c:pt idx="4">
                  <c:v>26.10.–
1.1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90</c:v>
                </c:pt>
                <c:pt idx="1">
                  <c:v>1325</c:v>
                </c:pt>
                <c:pt idx="2">
                  <c:v>3258</c:v>
                </c:pt>
                <c:pt idx="3">
                  <c:v>2610</c:v>
                </c:pt>
                <c:pt idx="4">
                  <c:v>27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10.–
1.11.</c:v>
                </c:pt>
                <c:pt idx="1">
                  <c:v>2.11.–
8.11.</c:v>
                </c:pt>
                <c:pt idx="2">
                  <c:v>9.11.–
15.11.</c:v>
                </c:pt>
                <c:pt idx="3">
                  <c:v>16.11.–
22.11.</c:v>
                </c:pt>
                <c:pt idx="4">
                  <c:v>23.11.–
29.11.</c:v>
                </c:pt>
                <c:pt idx="5">
                  <c:v>30.11.–
6.12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2702</c:v>
                </c:pt>
                <c:pt idx="1">
                  <c:v>2109</c:v>
                </c:pt>
                <c:pt idx="2">
                  <c:v>3034</c:v>
                </c:pt>
                <c:pt idx="3">
                  <c:v>2017</c:v>
                </c:pt>
                <c:pt idx="4">
                  <c:v>788</c:v>
                </c:pt>
                <c:pt idx="5">
                  <c:v>7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0.11.–
6.12.</c:v>
                </c:pt>
                <c:pt idx="1">
                  <c:v>7.12.–
13.12.</c:v>
                </c:pt>
                <c:pt idx="2">
                  <c:v>14.12.–
20.12.</c:v>
                </c:pt>
                <c:pt idx="3">
                  <c:v>21.12.–
27.12.</c:v>
                </c:pt>
                <c:pt idx="4">
                  <c:v>28.12.–
3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772</c:v>
                </c:pt>
                <c:pt idx="1">
                  <c:v>1444</c:v>
                </c:pt>
                <c:pt idx="2">
                  <c:v>992</c:v>
                </c:pt>
                <c:pt idx="3">
                  <c:v>582</c:v>
                </c:pt>
                <c:pt idx="4">
                  <c:v>9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12.–
3.1.</c:v>
                </c:pt>
                <c:pt idx="1">
                  <c:v>4.1.–
10.1.</c:v>
                </c:pt>
                <c:pt idx="2">
                  <c:v>11.1.–
17.1.</c:v>
                </c:pt>
                <c:pt idx="3">
                  <c:v>18.1.–
24.1.</c:v>
                </c:pt>
                <c:pt idx="4">
                  <c:v>25.1.–
31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943</c:v>
                </c:pt>
                <c:pt idx="1">
                  <c:v>1069</c:v>
                </c:pt>
                <c:pt idx="2">
                  <c:v>910</c:v>
                </c:pt>
                <c:pt idx="3">
                  <c:v>885</c:v>
                </c:pt>
                <c:pt idx="4">
                  <c:v>4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E$1</c:f>
              <c:strCache>
                <c:ptCount val="4"/>
                <c:pt idx="0">
                  <c:v>1.2.–
7.2.</c:v>
                </c:pt>
                <c:pt idx="1">
                  <c:v>8.2.–
14.2.</c:v>
                </c:pt>
                <c:pt idx="2">
                  <c:v>15.2.–
21.2.</c:v>
                </c:pt>
                <c:pt idx="3">
                  <c:v>22.2.–
28.2.</c:v>
                </c:pt>
              </c:strCache>
            </c:strRef>
          </c:cat>
          <c:val>
            <c:numRef>
              <c:f>List1!$B$2:$E$2</c:f>
              <c:numCache>
                <c:formatCode>General</c:formatCode>
                <c:ptCount val="4"/>
                <c:pt idx="0">
                  <c:v>650</c:v>
                </c:pt>
                <c:pt idx="1">
                  <c:v>590</c:v>
                </c:pt>
                <c:pt idx="2">
                  <c:v>204</c:v>
                </c:pt>
                <c:pt idx="3">
                  <c:v>3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3.–
7.3.</c:v>
                </c:pt>
                <c:pt idx="1">
                  <c:v>8.3.–
14.3.</c:v>
                </c:pt>
                <c:pt idx="2">
                  <c:v>15.3.–
21.3.</c:v>
                </c:pt>
                <c:pt idx="3">
                  <c:v>22.3.–
28.3.</c:v>
                </c:pt>
                <c:pt idx="4">
                  <c:v>29.3.–
4.4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43</c:v>
                </c:pt>
                <c:pt idx="1">
                  <c:v>223</c:v>
                </c:pt>
                <c:pt idx="2">
                  <c:v>295</c:v>
                </c:pt>
                <c:pt idx="3">
                  <c:v>192</c:v>
                </c:pt>
                <c:pt idx="4">
                  <c:v>1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3.–
4.4.</c:v>
                </c:pt>
                <c:pt idx="1">
                  <c:v>5.4.–
11.4.</c:v>
                </c:pt>
                <c:pt idx="2">
                  <c:v>12.4.–
18.4.</c:v>
                </c:pt>
                <c:pt idx="3">
                  <c:v>19.4.–
25.4.</c:v>
                </c:pt>
                <c:pt idx="4">
                  <c:v>26.4.–
2.5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22</c:v>
                </c:pt>
                <c:pt idx="1">
                  <c:v>72</c:v>
                </c:pt>
                <c:pt idx="2">
                  <c:v>32</c:v>
                </c:pt>
                <c:pt idx="3">
                  <c:v>16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4.–
2.5.</c:v>
                </c:pt>
                <c:pt idx="1">
                  <c:v>3.5.–
9.5.</c:v>
                </c:pt>
                <c:pt idx="2">
                  <c:v>10.5.–
16.5.</c:v>
                </c:pt>
                <c:pt idx="3">
                  <c:v>17.5.–
23.5.</c:v>
                </c:pt>
                <c:pt idx="4">
                  <c:v>24.5.–
30.5.</c:v>
                </c:pt>
                <c:pt idx="5">
                  <c:v>31.5.–
6.6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5</c:v>
                </c:pt>
                <c:pt idx="1">
                  <c:v>0</c:v>
                </c:pt>
                <c:pt idx="2">
                  <c:v>14</c:v>
                </c:pt>
                <c:pt idx="3">
                  <c:v>9</c:v>
                </c:pt>
                <c:pt idx="4">
                  <c:v>0</c:v>
                </c:pt>
                <c:pt idx="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5.–
6.6.</c:v>
                </c:pt>
                <c:pt idx="1">
                  <c:v>7.6.–
13.6.</c:v>
                </c:pt>
                <c:pt idx="2">
                  <c:v>14.6.–
20.6.</c:v>
                </c:pt>
                <c:pt idx="3">
                  <c:v>21.6.–
27.6.</c:v>
                </c:pt>
                <c:pt idx="4">
                  <c:v>28.6.–
4.7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</c:v>
                </c:pt>
                <c:pt idx="1">
                  <c:v>4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6.–
4.7.</c:v>
                </c:pt>
                <c:pt idx="1">
                  <c:v>5.7.–
11.7.</c:v>
                </c:pt>
                <c:pt idx="2">
                  <c:v>12.7.–
18.7.</c:v>
                </c:pt>
                <c:pt idx="3">
                  <c:v>19.7.–
25.7.</c:v>
                </c:pt>
                <c:pt idx="4">
                  <c:v>26.7.–
1.8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3</c:v>
                </c:pt>
                <c:pt idx="3">
                  <c:v>5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11.–
5.12.</c:v>
                </c:pt>
                <c:pt idx="1">
                  <c:v>6.12.–
12.12.</c:v>
                </c:pt>
                <c:pt idx="2">
                  <c:v>13.12.–
19.12.</c:v>
                </c:pt>
                <c:pt idx="3">
                  <c:v>20.12.–
26.12.</c:v>
                </c:pt>
                <c:pt idx="4">
                  <c:v>27.12.–
2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05</c:v>
                </c:pt>
                <c:pt idx="1">
                  <c:v>173</c:v>
                </c:pt>
                <c:pt idx="2">
                  <c:v>106</c:v>
                </c:pt>
                <c:pt idx="3">
                  <c:v>70</c:v>
                </c:pt>
                <c:pt idx="4">
                  <c:v>1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7.–
1.8.</c:v>
                </c:pt>
                <c:pt idx="1">
                  <c:v>2.8.–
8.8.</c:v>
                </c:pt>
                <c:pt idx="2">
                  <c:v>9.8.–
15.8.</c:v>
                </c:pt>
                <c:pt idx="3">
                  <c:v>16.8.–
22.8.</c:v>
                </c:pt>
                <c:pt idx="4">
                  <c:v>23.8.–
29.8.</c:v>
                </c:pt>
                <c:pt idx="5">
                  <c:v>30.8.–
5.9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0</c:v>
                </c:pt>
                <c:pt idx="4">
                  <c:v>0</c:v>
                </c:pt>
                <c:pt idx="5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0.8.–
5.9.</c:v>
                </c:pt>
                <c:pt idx="1">
                  <c:v>6.9.–
12.9.</c:v>
                </c:pt>
                <c:pt idx="2">
                  <c:v>13.9.–
19.9.</c:v>
                </c:pt>
                <c:pt idx="3">
                  <c:v>20.9.–
26.9.</c:v>
                </c:pt>
                <c:pt idx="4">
                  <c:v>27.9.–
3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8</c:v>
                </c:pt>
                <c:pt idx="1">
                  <c:v>0</c:v>
                </c:pt>
                <c:pt idx="2">
                  <c:v>6</c:v>
                </c:pt>
                <c:pt idx="3">
                  <c:v>14</c:v>
                </c:pt>
                <c:pt idx="4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7.9.–
3.10.</c:v>
                </c:pt>
                <c:pt idx="1">
                  <c:v>4.10.–
10.10.</c:v>
                </c:pt>
                <c:pt idx="2">
                  <c:v>11.10.–
17.10.</c:v>
                </c:pt>
                <c:pt idx="3">
                  <c:v>18.10.–
24.10.</c:v>
                </c:pt>
                <c:pt idx="4">
                  <c:v>25.10.–
31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46</c:v>
                </c:pt>
                <c:pt idx="1">
                  <c:v>30</c:v>
                </c:pt>
                <c:pt idx="2">
                  <c:v>58</c:v>
                </c:pt>
                <c:pt idx="3">
                  <c:v>28</c:v>
                </c:pt>
                <c:pt idx="4">
                  <c:v>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7.12.–
2.1.</c:v>
                </c:pt>
                <c:pt idx="1">
                  <c:v>3.1.–
9.1.</c:v>
                </c:pt>
                <c:pt idx="2">
                  <c:v>10.1.–
16.1.</c:v>
                </c:pt>
                <c:pt idx="3">
                  <c:v>17.1.–
23.1.</c:v>
                </c:pt>
                <c:pt idx="4">
                  <c:v>24.1.–
30.1.</c:v>
                </c:pt>
                <c:pt idx="5">
                  <c:v>31.1.–
6.2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54</c:v>
                </c:pt>
                <c:pt idx="1">
                  <c:v>46</c:v>
                </c:pt>
                <c:pt idx="2">
                  <c:v>28</c:v>
                </c:pt>
                <c:pt idx="3">
                  <c:v>252</c:v>
                </c:pt>
                <c:pt idx="4">
                  <c:v>306</c:v>
                </c:pt>
                <c:pt idx="5">
                  <c:v>4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1.–
6.2.</c:v>
                </c:pt>
                <c:pt idx="1">
                  <c:v>7.2.–
13.2.</c:v>
                </c:pt>
                <c:pt idx="2">
                  <c:v>14.2.–
20.2.</c:v>
                </c:pt>
                <c:pt idx="3">
                  <c:v>21.2.–
27.2.</c:v>
                </c:pt>
                <c:pt idx="4">
                  <c:v>28.2.–
6.3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484</c:v>
                </c:pt>
                <c:pt idx="1">
                  <c:v>804</c:v>
                </c:pt>
                <c:pt idx="2">
                  <c:v>333</c:v>
                </c:pt>
                <c:pt idx="3">
                  <c:v>272</c:v>
                </c:pt>
                <c:pt idx="4">
                  <c:v>1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E9-40FD-BA37-B2E6F93584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2.–
6.3.</c:v>
                </c:pt>
                <c:pt idx="1">
                  <c:v>7.3.–
13.3.</c:v>
                </c:pt>
                <c:pt idx="2">
                  <c:v>14.3.–
20.3.</c:v>
                </c:pt>
                <c:pt idx="3">
                  <c:v>21.3.–
27.3.</c:v>
                </c:pt>
                <c:pt idx="4">
                  <c:v>28.3.–
3.4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03</c:v>
                </c:pt>
                <c:pt idx="1">
                  <c:v>1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E9-40FD-BA37-B2E6F93584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  <a:r>
              <a:rPr lang="cs-CZ" baseline="0" dirty="0"/>
              <a:t> a pracovníci</a:t>
            </a:r>
            <a:endParaRPr lang="cs-CZ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explosion val="1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4DD-43EC-ACB6-2CFB565CAD6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4DD-43EC-ACB6-2CFB565CAD69}"/>
              </c:ext>
            </c:extLst>
          </c:dPt>
          <c:dLbls>
            <c:dLbl>
              <c:idx val="0"/>
              <c:layout>
                <c:manualLayout>
                  <c:x val="3.5487344412856947E-2"/>
                  <c:y val="-5.323017573025565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4DD-43EC-ACB6-2CFB565CAD69}"/>
                </c:ext>
              </c:extLst>
            </c:dLbl>
            <c:dLbl>
              <c:idx val="1"/>
              <c:layout>
                <c:manualLayout>
                  <c:x val="-3.4963343241499231E-2"/>
                  <c:y val="4.3115189104511016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4DD-43EC-ACB6-2CFB565CAD69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Zadávají do Sociálního mdulu ISIN</c:v>
                </c:pt>
                <c:pt idx="1">
                  <c:v>Nezadávají</c:v>
                </c:pt>
              </c:strCache>
            </c:strRef>
          </c:cat>
          <c:val>
            <c:numRef>
              <c:f>List1!$B$2:$B$3</c:f>
              <c:numCache>
                <c:formatCode>0.00%</c:formatCode>
                <c:ptCount val="2"/>
                <c:pt idx="0">
                  <c:v>0.81859999999999999</c:v>
                </c:pt>
                <c:pt idx="1">
                  <c:v>0.1814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4DD-43EC-ACB6-2CFB565CAD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acovníc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C$1</c:f>
              <c:strCache>
                <c:ptCount val="1"/>
                <c:pt idx="0">
                  <c:v>Sloupec2</c:v>
                </c:pt>
              </c:strCache>
            </c:strRef>
          </c:tx>
          <c:explosion val="1"/>
          <c:dPt>
            <c:idx val="0"/>
            <c:bubble3D val="0"/>
            <c:explosion val="3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3C4E-4B6D-BC39-F29FC08BBEF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C4E-4B6D-BC39-F29FC08BBEF3}"/>
              </c:ext>
            </c:extLst>
          </c:dPt>
          <c:dLbls>
            <c:dLbl>
              <c:idx val="0"/>
              <c:layout>
                <c:manualLayout>
                  <c:x val="-0.23847481928522815"/>
                  <c:y val="-0.13490023375638827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6751296037830877"/>
                      <c:h val="0.1733719757170023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3C4E-4B6D-BC39-F29FC08BBEF3}"/>
                </c:ext>
              </c:extLst>
            </c:dLbl>
            <c:dLbl>
              <c:idx val="1"/>
              <c:layout>
                <c:manualLayout>
                  <c:x val="0.22867473090205878"/>
                  <c:y val="0.195518539197765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>
                          <a:lumMod val="9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950950427742643"/>
                      <c:h val="0.1675929098597689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3C4E-4B6D-BC39-F29FC08BBEF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C$2:$C$3</c:f>
              <c:numCache>
                <c:formatCode>0.0%</c:formatCode>
                <c:ptCount val="2"/>
                <c:pt idx="0">
                  <c:v>0.71691435735367093</c:v>
                </c:pt>
                <c:pt idx="1">
                  <c:v>0.283085642646329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4E-4B6D-BC39-F29FC08BBEF3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2.03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2.03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3227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3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chart" Target="../charts/chart8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chart" Target="../charts/chart11.xml"/><Relationship Id="rId5" Type="http://schemas.openxmlformats.org/officeDocument/2006/relationships/tags" Target="../tags/tag15.xml"/><Relationship Id="rId10" Type="http://schemas.openxmlformats.org/officeDocument/2006/relationships/chart" Target="../charts/chart10.xml"/><Relationship Id="rId4" Type="http://schemas.openxmlformats.org/officeDocument/2006/relationships/tags" Target="../tags/tag14.xml"/><Relationship Id="rId9" Type="http://schemas.openxmlformats.org/officeDocument/2006/relationships/chart" Target="../charts/chart9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chart" Target="../charts/chart14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chart" Target="../charts/chart13.xml"/><Relationship Id="rId5" Type="http://schemas.openxmlformats.org/officeDocument/2006/relationships/tags" Target="../tags/tag22.xml"/><Relationship Id="rId10" Type="http://schemas.openxmlformats.org/officeDocument/2006/relationships/chart" Target="../charts/chart12.xml"/><Relationship Id="rId4" Type="http://schemas.openxmlformats.org/officeDocument/2006/relationships/tags" Target="../tags/tag21.xml"/><Relationship Id="rId9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chart" Target="../charts/chart16.xml"/><Relationship Id="rId5" Type="http://schemas.openxmlformats.org/officeDocument/2006/relationships/chart" Target="../charts/chart15.xml"/><Relationship Id="rId4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chart" Target="../charts/chart18.xml"/><Relationship Id="rId5" Type="http://schemas.openxmlformats.org/officeDocument/2006/relationships/chart" Target="../charts/chart17.xml"/><Relationship Id="rId4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4" Type="http://schemas.openxmlformats.org/officeDocument/2006/relationships/chart" Target="../charts/chart2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1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3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4.xml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5.xml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6.xml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7.xml"/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8.xml"/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9.xml"/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0.xml"/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1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2.xml"/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5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7703" y="4066289"/>
            <a:ext cx="9869424" cy="1564690"/>
          </a:xfrm>
        </p:spPr>
        <p:txBody>
          <a:bodyPr>
            <a:noAutofit/>
          </a:bodyPr>
          <a:lstStyle/>
          <a:p>
            <a:r>
              <a:rPr lang="cs-CZ" sz="4000" b="1" dirty="0">
                <a:solidFill>
                  <a:schemeClr val="tx1"/>
                </a:solidFill>
              </a:rPr>
              <a:t>Ohniska nákazy a individuální přehledy </a:t>
            </a:r>
          </a:p>
          <a:p>
            <a:r>
              <a:rPr lang="cs-CZ" sz="4000" b="1" dirty="0">
                <a:solidFill>
                  <a:schemeClr val="tx1"/>
                </a:solidFill>
              </a:rPr>
              <a:t>o nákazách v zařízeních sociálních </a:t>
            </a:r>
          </a:p>
          <a:p>
            <a:r>
              <a:rPr lang="cs-CZ" sz="4000" b="1" dirty="0">
                <a:solidFill>
                  <a:schemeClr val="tx1"/>
                </a:solidFill>
              </a:rPr>
              <a:t>služeb</a:t>
            </a:r>
          </a:p>
        </p:txBody>
      </p:sp>
    </p:spTree>
    <p:extLst>
      <p:ext uri="{BB962C8B-B14F-4D97-AF65-F5344CB8AC3E}">
        <p14:creationId xmlns:p14="http://schemas.microsoft.com/office/powerpoint/2010/main" val="34546042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F243816-A653-460C-A97C-B4BECB584E6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3163143"/>
              </p:ext>
            </p:extLst>
          </p:nvPr>
        </p:nvGraphicFramePr>
        <p:xfrm>
          <a:off x="7362821" y="5556199"/>
          <a:ext cx="4554645" cy="853440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158364138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4155902833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3409936449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3590700307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361667265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376992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2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6763805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3/2022 k 12. 3.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FC5EFE55-EE2D-476E-94E8-91E4F58258C1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12. 3. 2022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2CB9E723-90D4-4DF3-A4C1-04A567932C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0169172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19" name="Graf 12">
            <a:extLst>
              <a:ext uri="{FF2B5EF4-FFF2-40B4-BE49-F238E27FC236}">
                <a16:creationId xmlns:a16="http://schemas.microsoft.com/office/drawing/2014/main" id="{69D9846B-2D40-4943-BE29-D639CD1CADF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009936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0" name="Obdélník 13">
            <a:extLst>
              <a:ext uri="{FF2B5EF4-FFF2-40B4-BE49-F238E27FC236}">
                <a16:creationId xmlns:a16="http://schemas.microsoft.com/office/drawing/2014/main" id="{06C48139-6AD8-42FC-87EB-B78B92AFE7B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1" name="Tabulka 14">
            <a:extLst>
              <a:ext uri="{FF2B5EF4-FFF2-40B4-BE49-F238E27FC236}">
                <a16:creationId xmlns:a16="http://schemas.microsoft.com/office/drawing/2014/main" id="{3F51155A-4EFC-474B-BC5A-8553005EE892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915434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7. 11. – 14. 1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6081177"/>
              </p:ext>
            </p:extLst>
          </p:nvPr>
        </p:nvGraphicFramePr>
        <p:xfrm>
          <a:off x="1372685" y="1009672"/>
          <a:ext cx="9684753" cy="550315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8949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EN pro SEN Javor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 - 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riatrické centrum Týniště nad Orlic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 Praha 15, DPS Janov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abr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Centrin Unhošť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Pilní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e Věž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83303711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grované centrum Vilémov pro osoby se zdr. postižení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84759251"/>
                  </a:ext>
                </a:extLst>
              </a:tr>
              <a:tr h="35727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tyřlístek - centrum pro osoby se zdravotním postižením Ostrava, příspěvková organizace  Domov Třeb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9948375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4712926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Marianska 4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19774051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dobré vůle Žáry, M.Albrechtice, Žáry 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52678755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Salvátor Krnov, M.Švabinského 10, Kr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6286697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Pouch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2837375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ukromé senior centrum Necha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3703661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NEZDENICE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1400547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Anna Český Bro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317622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domácí péče Samopš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24288581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tyřlístek - Domov Barevný svět, Petřk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8390345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x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6018896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S Skřiv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868301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ROŽNOV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17293062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VALMEZ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a DPS Zákup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Pampeliš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, Sněženková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polek Klidné stáří, Březová 372/83, Děčín I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00101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5. 12. – 31. 1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9266196"/>
              </p:ext>
            </p:extLst>
          </p:nvPr>
        </p:nvGraphicFramePr>
        <p:xfrm>
          <a:off x="1372685" y="1009673"/>
          <a:ext cx="9684753" cy="538161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192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K srdci klíč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Karla Boromejského, K Šancím 50, Praha 6 Řep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orní Bran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pečovatelský dům U Jakuba II, Červený Kostel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humanity - Azylový dů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 Morav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á služby RUAH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SVKŘÍŽEKM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UMORAVYKM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VALMEZ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79170398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PASVIZOVICE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481288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Dolní Počer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1583226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hoda Neto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98278122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větl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616555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H Nemocnice Vimpe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35636792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uster  Loucký Mlý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08858216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EIMER HOME Ostrov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68729976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KS SVATAVA -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71434954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5 -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4980781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uster  CPS Vodň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9645884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ZAŠOVÁ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96120778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GAPO Bruntá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42835001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Šluknov-Krásná Lípa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6902963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verka Jiří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04353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. – 31. 1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9996055"/>
              </p:ext>
            </p:extLst>
          </p:nvPr>
        </p:nvGraphicFramePr>
        <p:xfrm>
          <a:off x="1372685" y="1009672"/>
          <a:ext cx="9684753" cy="550316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8854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Hluboká nad Vltavo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Libnič a Centrum sociálních služeb Empati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Dač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Ječmínek ZR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s.Zdislav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Ludmil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u Agát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U Vršovického nádraží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Vlašská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KS Soused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65242358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tachy Kůso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271433143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DN AMICA 3 - CH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38112332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ršovická zdravotní, rehabilitace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24200414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Velké Hamry, příspěvková organiza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83461722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VALMEZ22 VS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92690310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apírenská Praha 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62641440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534014768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Vrchlab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88813584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zrakově postižené Palata, Praha 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01493290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DN Oblouková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32911813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ETRA Mačko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73131533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 Svitav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76942257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Hedviky Kravař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79170398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odrý kámen Mnichovo Hradiště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5481288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Horní Planá, Komenského 6, 382 26 Horní Planá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1583226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ní stacionář DS Máj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9858551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6 - S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98278122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JAVOROVA K. VARY - K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188438172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ZBOROVICE22 K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509063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OTROK22 ZL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58575557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Zahradní město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3616555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 Loucký Mlý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35636792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Rak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79750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2. – 9. 2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F7E221A7-C6C9-47E2-BB32-2A8D1AB67A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1173484"/>
              </p:ext>
            </p:extLst>
          </p:nvPr>
        </p:nvGraphicFramePr>
        <p:xfrm>
          <a:off x="1372685" y="1009672"/>
          <a:ext cx="9684753" cy="540065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9117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 Hagibor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Česká J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áchova Praha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SeniorCentrum Slivenec s.r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LUKOV22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VALMEZ22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KUNOVICE22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VELEHRAD22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DĚJEZLÍN22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65242358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centrum Kol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71433143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Jablonecké Paseky, p. 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38112332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 zvláštním režim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24200414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ZLÍN22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3461722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Vrbno p.P., Mnichov 2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92690310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Jasm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62641440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Rožmitál p. Třemšín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34014768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běš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88813584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Náchod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01493290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DD Malá Čermná 42 l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32911813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orizont,p.o. - odd B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73131533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rnov, Rooseveltova 51, 79401, Kr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76942257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Třebo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79170398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MARIANSKA 5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4812885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aprsek Olš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07657475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Anežky Luště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3127476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15832265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uior centrum Necha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84279483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manž. Curieových Třebí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00367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0. 2. – 20. 2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4ADC1232-1C09-47EC-83F6-9D189A376A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6186715"/>
              </p:ext>
            </p:extLst>
          </p:nvPr>
        </p:nvGraphicFramePr>
        <p:xfrm>
          <a:off x="1372685" y="1009674"/>
          <a:ext cx="9684753" cy="550317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8707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Clementas Mlék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Emausy Dobrá Vod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O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Pohoda Netol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Anežky Velký Újezd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NEZDENICE22 UH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SNÁVOJNÁ22 ZL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VÁŽANY22 K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Osobl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65242358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, Sněženková 8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271433143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Otí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38112332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MSSS Oáza IIl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24200414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projekt s.r.o. DZR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83461722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Svobod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92690310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 15, Parmská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62641440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vízdal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534014768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Náměšť nad Oslavo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88813584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GF Alzheimer centrum Třebíč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01493290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ortenzi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32911813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rč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41005323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Ďábl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180079919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Fontán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925077564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Velké Meziříčí, Zdenky Vorlové 21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93970118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Hejnická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951000961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větlo Pí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73131533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U Přehrady, z. s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76942257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221649236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ubešova Třebíč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2798790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BUREŠOV22 ZL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985711495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NLP Therapon 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6721296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21. 2. – 12. 3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2. 3. 2022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4ADC1232-1C09-47EC-83F6-9D189A376A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5448561"/>
              </p:ext>
            </p:extLst>
          </p:nvPr>
        </p:nvGraphicFramePr>
        <p:xfrm>
          <a:off x="1372685" y="1009672"/>
          <a:ext cx="9684753" cy="541970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8423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88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LAZNE KYNZVART - CH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88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AZA LOUCKY - S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88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Šluknov, Křečanská 630, Šlukno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88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Police n. M. I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88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domov a ZŠ Vrbno pod Praděde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688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Karla Boromejského, K Šancím 50, Praha 6 Řep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688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Klamovka, Praha 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688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řez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688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Dobrá Vod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688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y na Orlici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65242358"/>
                  </a:ext>
                </a:extLst>
              </a:tr>
              <a:tr h="1688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COZP Dolní Poustev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271433143"/>
                  </a:ext>
                </a:extLst>
              </a:tr>
              <a:tr h="1688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obylá nad Vidnavko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38112332"/>
                  </a:ext>
                </a:extLst>
              </a:tr>
              <a:tr h="1688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DPSROŽNOV22 VS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24200414"/>
                  </a:ext>
                </a:extLst>
              </a:tr>
              <a:tr h="1688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BUCHLOVICE22 UH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83461722"/>
                  </a:ext>
                </a:extLst>
              </a:tr>
              <a:tr h="1688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Rybničn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92690310"/>
                  </a:ext>
                </a:extLst>
              </a:tr>
              <a:tr h="1688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Rybničn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62641440"/>
                  </a:ext>
                </a:extLst>
              </a:tr>
              <a:tr h="1688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 Svitav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21729014"/>
                  </a:ext>
                </a:extLst>
              </a:tr>
              <a:tr h="1688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Zámku Lysá nad Labe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3423867"/>
                  </a:ext>
                </a:extLst>
              </a:tr>
              <a:tr h="1688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tské centrum komplexní péče Benátky n. J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07243140"/>
                  </a:ext>
                </a:extLst>
              </a:tr>
              <a:tr h="1688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Lampert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72275993"/>
                  </a:ext>
                </a:extLst>
              </a:tr>
              <a:tr h="1688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me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itkovice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48891181"/>
                  </a:ext>
                </a:extLst>
              </a:tr>
              <a:tr h="1688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Lidická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50848453"/>
                  </a:ext>
                </a:extLst>
              </a:tr>
              <a:tr h="1688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Pí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49704709"/>
                  </a:ext>
                </a:extLst>
              </a:tr>
              <a:tr h="1688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Eliška 2B Praha 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00862596"/>
                  </a:ext>
                </a:extLst>
              </a:tr>
              <a:tr h="1688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etol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76886819"/>
                  </a:ext>
                </a:extLst>
              </a:tr>
              <a:tr h="1688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řebíč DpS Koutkov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65142125"/>
                  </a:ext>
                </a:extLst>
              </a:tr>
              <a:tr h="1688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NATORIUMTOPAS22 ZL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55604569"/>
                  </a:ext>
                </a:extLst>
              </a:tr>
              <a:tr h="1688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House Vaco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997496042"/>
                  </a:ext>
                </a:extLst>
              </a:tr>
              <a:tr h="1688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Eliška 3B Praha 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534014768"/>
                  </a:ext>
                </a:extLst>
              </a:tr>
              <a:tr h="1688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eniorů Mělní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88813584"/>
                  </a:ext>
                </a:extLst>
              </a:tr>
              <a:tr h="1688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JASENKA22 VS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5256549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075944" y="3790246"/>
            <a:ext cx="9869424" cy="1564690"/>
          </a:xfrm>
        </p:spPr>
        <p:txBody>
          <a:bodyPr>
            <a:normAutofit/>
          </a:bodyPr>
          <a:lstStyle/>
          <a:p>
            <a:r>
              <a:rPr lang="cs-CZ" sz="3600" b="1" dirty="0">
                <a:solidFill>
                  <a:srgbClr val="C00000"/>
                </a:solidFill>
              </a:rPr>
              <a:t>Nákaza COVID-19 v zařízeních </a:t>
            </a:r>
          </a:p>
          <a:p>
            <a:r>
              <a:rPr lang="cs-CZ" sz="3600" b="1" dirty="0">
                <a:solidFill>
                  <a:srgbClr val="C00000"/>
                </a:solidFill>
              </a:rPr>
              <a:t>sociálních služeb 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3608199" y="5354936"/>
            <a:ext cx="4804913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ě hlášené případy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8434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>
            <p:custDataLst>
              <p:tags r:id="rId1"/>
            </p:custDataLst>
          </p:nvPr>
        </p:nvSpPr>
        <p:spPr>
          <a:xfrm>
            <a:off x="237831" y="622249"/>
            <a:ext cx="1132702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ášení o šíření nákazy v pobytových sociálních službách je ze strany poskytovatelů reprezentativní, celý systém dosahuje více než 81% pokrytí tohoto segmentu péče. Za celé období sledování od podzimu 2020 bylo registrováno přes 2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</a:t>
            </a: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500 nakažených klientů a více než 21 100 nakažených pracovníků. Hlášení o úmrtích COVID pozitivních klientů přesáhlo 3 500, pracovníků zemřelo 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9</a:t>
            </a: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353656" y="1948875"/>
            <a:ext cx="1095375" cy="538018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/>
          <p:cNvSpPr txBox="1"/>
          <p:nvPr>
            <p:custDataLst>
              <p:tags r:id="rId2"/>
            </p:custDataLst>
          </p:nvPr>
        </p:nvSpPr>
        <p:spPr>
          <a:xfrm>
            <a:off x="237830" y="2466327"/>
            <a:ext cx="1168747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listopadu byl z těchto individuálních hlášení patrný nárůst počtu nakažených ve srovnání </a:t>
            </a:r>
          </a:p>
          <a:p>
            <a:pPr marL="0" marR="0" lvl="0" indent="0" algn="ctr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říjnem 2021. Tato data tedy nezávisle potvrzují nálezy zjištěné epidemiologickými šetřeními ze strany KHS. Za měsíc listopad bylo nahlášeno 9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3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ákaz pracovníků a 8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3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ákaz klientů pobytových sociálních služeb. Počet hlášených úmrtí klientů dosáhnul v listopadu hodnoty 11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Ačkoli šlo o výrazný nárůst, stále se jednalo o počty významně nižší než v zimních až jarních měsících 2021. Za prosinec bylo na bázi přímého hlášení od poskytovatelů sociálních služeb registrováno 5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2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ákaz u personálu a 4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ákaz u klientů. Celkem 69 nakažených klientů zemřelo. </a:t>
            </a:r>
            <a:endParaRPr kumimoji="0" lang="cs-CZ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Šipka dolů 4">
            <a:extLst>
              <a:ext uri="{FF2B5EF4-FFF2-40B4-BE49-F238E27FC236}">
                <a16:creationId xmlns:a16="http://schemas.microsoft.com/office/drawing/2014/main" id="{5B31F110-680C-4708-9C37-E3C235162FCA}"/>
              </a:ext>
            </a:extLst>
          </p:cNvPr>
          <p:cNvSpPr/>
          <p:nvPr/>
        </p:nvSpPr>
        <p:spPr>
          <a:xfrm>
            <a:off x="5353656" y="4685753"/>
            <a:ext cx="1095375" cy="538018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757E8C22-BEEA-45FF-855F-3C6D2A98514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2046" y="5155434"/>
            <a:ext cx="11578589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lednu bylo nahlášeno 1039 případů nákazy personálu a 436 klientů, z nichž 29 zemřelo, v únoru bylo nahlášeno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80 nákaz pracovníků a 1076 nákaz klientů, z nichž 67 zemřelo, v březnu (k 12. 3.) bylo hlášeno 265 případů nákazy personálu a 255 klientů, z nichž 27 zemřelo. Počty případů s těžkým průběhem nákazy, zejména vyžadujícím hospitalizaci, zůstávají nízké, v jednotkách případů denně v celé ČR. </a:t>
            </a:r>
            <a:endParaRPr kumimoji="0" lang="cs-CZ" sz="22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Podnadpis 4">
            <a:extLst>
              <a:ext uri="{FF2B5EF4-FFF2-40B4-BE49-F238E27FC236}">
                <a16:creationId xmlns:a16="http://schemas.microsoft.com/office/drawing/2014/main" id="{8B62E79B-CD80-47C0-8863-8E66984EC330}"/>
              </a:ext>
            </a:extLst>
          </p:cNvPr>
          <p:cNvSpPr txBox="1">
            <a:spLocks/>
          </p:cNvSpPr>
          <p:nvPr/>
        </p:nvSpPr>
        <p:spPr>
          <a:xfrm>
            <a:off x="266699" y="118297"/>
            <a:ext cx="11658601" cy="6036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lášení poskytovatelů: souhrn vývoje od podzimu 2021</a:t>
            </a:r>
          </a:p>
        </p:txBody>
      </p:sp>
    </p:spTree>
    <p:extLst>
      <p:ext uri="{BB962C8B-B14F-4D97-AF65-F5344CB8AC3E}">
        <p14:creationId xmlns:p14="http://schemas.microsoft.com/office/powerpoint/2010/main" val="4536507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abulka 13">
            <a:extLst>
              <a:ext uri="{FF2B5EF4-FFF2-40B4-BE49-F238E27FC236}">
                <a16:creationId xmlns:a16="http://schemas.microsoft.com/office/drawing/2014/main" id="{4046FEE0-D8D1-4831-AB60-A1F7DA460B1D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2093976" y="3310410"/>
          <a:ext cx="8649221" cy="3202305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2391567">
                  <a:extLst>
                    <a:ext uri="{9D8B030D-6E8A-4147-A177-3AD203B41FA5}">
                      <a16:colId xmlns:a16="http://schemas.microsoft.com/office/drawing/2014/main" val="2551148758"/>
                    </a:ext>
                  </a:extLst>
                </a:gridCol>
                <a:gridCol w="1256029">
                  <a:extLst>
                    <a:ext uri="{9D8B030D-6E8A-4147-A177-3AD203B41FA5}">
                      <a16:colId xmlns:a16="http://schemas.microsoft.com/office/drawing/2014/main" val="2213013832"/>
                    </a:ext>
                  </a:extLst>
                </a:gridCol>
                <a:gridCol w="1611850">
                  <a:extLst>
                    <a:ext uri="{9D8B030D-6E8A-4147-A177-3AD203B41FA5}">
                      <a16:colId xmlns:a16="http://schemas.microsoft.com/office/drawing/2014/main" val="4088924505"/>
                    </a:ext>
                  </a:extLst>
                </a:gridCol>
                <a:gridCol w="1343884">
                  <a:extLst>
                    <a:ext uri="{9D8B030D-6E8A-4147-A177-3AD203B41FA5}">
                      <a16:colId xmlns:a16="http://schemas.microsoft.com/office/drawing/2014/main" val="607463107"/>
                    </a:ext>
                  </a:extLst>
                </a:gridCol>
                <a:gridCol w="2045891">
                  <a:extLst>
                    <a:ext uri="{9D8B030D-6E8A-4147-A177-3AD203B41FA5}">
                      <a16:colId xmlns:a16="http://schemas.microsoft.com/office/drawing/2014/main" val="1349585136"/>
                    </a:ext>
                  </a:extLst>
                </a:gridCol>
              </a:tblGrid>
              <a:tr h="205440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Zařízení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effectLst/>
                        </a:rPr>
                        <a:t>Klienti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u="none" strike="noStrike" dirty="0">
                          <a:effectLst/>
                        </a:rPr>
                        <a:t>Zadávání do ISIN: pokrytí v % z hlediska osob 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596431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3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3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.14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73333898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9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7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.83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4247662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7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0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.27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63933203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7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.6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87514622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6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.0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4154115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8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7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.75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15972316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5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.19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3901877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8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8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.32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59383996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2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.61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10727176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5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.81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83351451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9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7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.71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42795653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5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4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.35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3406727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8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5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.17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19930686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6350" marR="6350" marT="6350" marB="0"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8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77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64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.34%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64137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6350" marR="6350" marT="6350" marB="0" anchor="b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60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547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 575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.86%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607979411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sp>
        <p:nvSpPr>
          <p:cNvPr id="3" name="Šipka doprava 2"/>
          <p:cNvSpPr/>
          <p:nvPr/>
        </p:nvSpPr>
        <p:spPr>
          <a:xfrm>
            <a:off x="4078224" y="1341581"/>
            <a:ext cx="1280160" cy="85039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8FB02E70-00BE-4217-BFFA-D3CA15770A9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64696" y="659894"/>
            <a:ext cx="3661845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 24.1.2020 bylo v databázi MPSV vedeno 4 438 zařízení  s 77 547 klienty a 102 575 pracovníky (Tyto údaje nejsou u všech zařízení zadány). Z tohoto počtu jich zadává do sociálního modulu ISIN 1726 zařízení. Z hlediska osob je pokrytí 81,9%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											</a:t>
            </a:r>
          </a:p>
        </p:txBody>
      </p:sp>
      <p:graphicFrame>
        <p:nvGraphicFramePr>
          <p:cNvPr id="28" name="Graf 27">
            <a:extLst>
              <a:ext uri="{FF2B5EF4-FFF2-40B4-BE49-F238E27FC236}">
                <a16:creationId xmlns:a16="http://schemas.microsoft.com/office/drawing/2014/main" id="{070C962C-17CB-4943-9A26-6B0649A6731C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192046" y="713780"/>
          <a:ext cx="3858770" cy="2345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1" name="Obdélník 30">
            <a:extLst>
              <a:ext uri="{FF2B5EF4-FFF2-40B4-BE49-F238E27FC236}">
                <a16:creationId xmlns:a16="http://schemas.microsoft.com/office/drawing/2014/main" id="{AE754366-DA2D-456F-993B-3DC23336EE76}"/>
              </a:ext>
            </a:extLst>
          </p:cNvPr>
          <p:cNvSpPr/>
          <p:nvPr/>
        </p:nvSpPr>
        <p:spPr>
          <a:xfrm>
            <a:off x="10368318" y="1371074"/>
            <a:ext cx="232229" cy="2223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49C1BC83-8B2D-4CEB-9068-2C41D10CA1AC}"/>
              </a:ext>
            </a:extLst>
          </p:cNvPr>
          <p:cNvSpPr/>
          <p:nvPr/>
        </p:nvSpPr>
        <p:spPr>
          <a:xfrm>
            <a:off x="10368317" y="1888577"/>
            <a:ext cx="232229" cy="222358"/>
          </a:xfrm>
          <a:prstGeom prst="rect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A97C3952-A85E-447F-A446-C31B07748CAD}"/>
              </a:ext>
            </a:extLst>
          </p:cNvPr>
          <p:cNvSpPr txBox="1"/>
          <p:nvPr/>
        </p:nvSpPr>
        <p:spPr>
          <a:xfrm>
            <a:off x="10635556" y="1338037"/>
            <a:ext cx="147348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dávaj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zadávaj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sociálního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ulu v ISIN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C809B18B-7C7D-43CA-B6B5-0397532BC5C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93989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719673" cy="576000"/>
          </a:xfrm>
        </p:spPr>
        <p:txBody>
          <a:bodyPr/>
          <a:lstStyle/>
          <a:p>
            <a:r>
              <a:rPr lang="cs-CZ" dirty="0"/>
              <a:t>Úvod – zdroje dat a koncepce analýz </a:t>
            </a:r>
          </a:p>
        </p:txBody>
      </p:sp>
      <p:pic>
        <p:nvPicPr>
          <p:cNvPr id="12" name="Obrázek 11"/>
          <p:cNvPicPr>
            <a:picLocks noChangeAspect="1"/>
          </p:cNvPicPr>
          <p:nvPr/>
        </p:nvPicPr>
        <p:blipFill rotWithShape="1">
          <a:blip r:embed="rId2"/>
          <a:srcRect l="29757"/>
          <a:stretch/>
        </p:blipFill>
        <p:spPr>
          <a:xfrm>
            <a:off x="1762433" y="4150796"/>
            <a:ext cx="2770419" cy="2283052"/>
          </a:xfrm>
          <a:prstGeom prst="rect">
            <a:avLst/>
          </a:prstGeom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6201" y="896112"/>
            <a:ext cx="3168556" cy="2484490"/>
          </a:xfrm>
          <a:prstGeom prst="rect">
            <a:avLst/>
          </a:prstGeom>
        </p:spPr>
      </p:pic>
      <p:sp>
        <p:nvSpPr>
          <p:cNvPr id="14" name="Šipka nahoru, doprava i doleva 13"/>
          <p:cNvSpPr/>
          <p:nvPr/>
        </p:nvSpPr>
        <p:spPr>
          <a:xfrm rot="16200000">
            <a:off x="-2074261" y="3478063"/>
            <a:ext cx="6194017" cy="467360"/>
          </a:xfrm>
          <a:prstGeom prst="leftRightUpArrow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6200000">
            <a:off x="-2606131" y="3332358"/>
            <a:ext cx="5971034" cy="7587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COVID-19: </a:t>
            </a:r>
            <a:r>
              <a:rPr lang="cs-CZ" sz="1800" b="1" dirty="0">
                <a:solidFill>
                  <a:srgbClr val="2E5982"/>
                </a:solidFill>
                <a:latin typeface="Roboto" pitchFamily="2" charset="0"/>
                <a:ea typeface="Roboto" pitchFamily="2" charset="0"/>
              </a:rPr>
              <a:t>Komponenty informačního systému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pokrývají individuální</a:t>
            </a:r>
            <a:r>
              <a:rPr kumimoji="0" lang="cs-CZ" sz="1800" b="0" i="0" u="none" strike="noStrike" kern="1200" cap="none" spc="0" normalizeH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 záznamy o nákaze i šetření ohnisek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2E5982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16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9492727">
            <a:off x="4215712" y="1258975"/>
            <a:ext cx="2681764" cy="758771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Epidemická šetření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a záznamy o ohniscích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22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9477356">
            <a:off x="4103084" y="4232334"/>
            <a:ext cx="2681764" cy="758771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Centrální systém ISIN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a jeho komponenty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5788152" y="4746649"/>
            <a:ext cx="5971032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í hlášení o nákaze v sociálních zařízeních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í data o nákazách klientů a pracovníků sociálních zařízení. Zdrojem dat je Informační systém infekčních nemocí a jeho modul vyvinutý pro pobytová sociální zřízení.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Záznam o nákaze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musí být nutně spojen s konkrétním ohniskem, jde o nezávislý paralelní zdroj dat.</a:t>
            </a:r>
            <a:r>
              <a:rPr kumimoji="0" lang="cs-CZ" sz="16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ejména nákaza pracovníků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ůže proběhnout v rodině, v běžném životě, při volnočasových aktivitách, …. 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6263640" y="1638360"/>
            <a:ext cx="514807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dentifikace</a:t>
            </a:r>
            <a:r>
              <a:rPr kumimoji="0" lang="cs-CZ" sz="1600" b="1" i="0" u="none" strike="noStrike" kern="1200" cap="none" spc="0" normalizeH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hnisek nákazy při šetřeních KHS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hniska nákazy a jejich identifikace, velikost a rozsah. Popis sociálních zařízení jako možného zdroje šíření nákazy s identifikací rozsahu tohoto šíření. Srovnání rizikovosti s jinými typy ohnisek, provozů a aktivit. Výstup epidemických šetření KHS. </a:t>
            </a:r>
          </a:p>
        </p:txBody>
      </p:sp>
    </p:spTree>
    <p:extLst>
      <p:ext uri="{BB962C8B-B14F-4D97-AF65-F5344CB8AC3E}">
        <p14:creationId xmlns:p14="http://schemas.microsoft.com/office/powerpoint/2010/main" val="915951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0299713B-111D-4B25-B8CB-B6E1B62ADA57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563624" y="3303770"/>
          <a:ext cx="10232136" cy="3283720"/>
        </p:xfrm>
        <a:graphic>
          <a:graphicData uri="http://schemas.openxmlformats.org/drawingml/2006/table">
            <a:tbl>
              <a:tblPr firstRow="1" firstCol="1">
                <a:tableStyleId>{B301B821-A1FF-4177-AEE7-76D212191A09}</a:tableStyleId>
              </a:tblPr>
              <a:tblGrid>
                <a:gridCol w="1976410">
                  <a:extLst>
                    <a:ext uri="{9D8B030D-6E8A-4147-A177-3AD203B41FA5}">
                      <a16:colId xmlns:a16="http://schemas.microsoft.com/office/drawing/2014/main" val="1751799772"/>
                    </a:ext>
                  </a:extLst>
                </a:gridCol>
                <a:gridCol w="892342">
                  <a:extLst>
                    <a:ext uri="{9D8B030D-6E8A-4147-A177-3AD203B41FA5}">
                      <a16:colId xmlns:a16="http://schemas.microsoft.com/office/drawing/2014/main" val="902193333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3644895328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100385205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2915934235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612252977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466185456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2750514048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756592766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460982301"/>
                    </a:ext>
                  </a:extLst>
                </a:gridCol>
              </a:tblGrid>
              <a:tr h="182162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Kumulativní počet pozitivních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Prevalence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32631"/>
                  </a:ext>
                </a:extLst>
              </a:tr>
              <a:tr h="263108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8906633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25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49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74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.3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6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4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41120267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83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53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36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.8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1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6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17168116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88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24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12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2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8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.8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802934163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87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7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04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.1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.2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.0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541161169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0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7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7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1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8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1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514463784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29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35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64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5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.7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.5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283071355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7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4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41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.8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7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4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523434301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02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62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64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1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2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3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17411395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45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24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69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6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2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9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54612172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40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5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15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5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6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2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138760682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35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17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52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.4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.9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.9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787129281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90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91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81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5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7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98567351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57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43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00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5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1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1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84918007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6350" marR="6350" marT="6350" marB="0" anchor="b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43 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26 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69 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6%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9%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7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35806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6350" marR="6350" marT="6350" marB="0" anchor="b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981 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677 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658 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.1%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3%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8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8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3 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1 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3636442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3" name="Tabulka 5">
            <a:extLst>
              <a:ext uri="{FF2B5EF4-FFF2-40B4-BE49-F238E27FC236}">
                <a16:creationId xmlns:a16="http://schemas.microsoft.com/office/drawing/2014/main" id="{6F1BE403-568C-4410-92A9-A495D2FAEF4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96240" y="703131"/>
          <a:ext cx="4289898" cy="110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966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10173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ozitivní kumulativně od 1. 9. 202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98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677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658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03F2B12B-C7FB-433C-B31C-39BA29874352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827777" y="940149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6" name="Graf 15">
            <a:extLst>
              <a:ext uri="{FF2B5EF4-FFF2-40B4-BE49-F238E27FC236}">
                <a16:creationId xmlns:a16="http://schemas.microsoft.com/office/drawing/2014/main" id="{4423F0C7-01F1-48B0-8558-9204B4FCEBBD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5005129" y="958233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3CFFE266-D6AE-4802-A847-9E0F891F1121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8650425" y="937846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4" name="Tabulka 5">
            <a:extLst>
              <a:ext uri="{FF2B5EF4-FFF2-40B4-BE49-F238E27FC236}">
                <a16:creationId xmlns:a16="http://schemas.microsoft.com/office/drawing/2014/main" id="{56437C1F-4D10-4D3E-B0A8-9518E5C68D69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396240" y="2014267"/>
          <a:ext cx="4289898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3035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3689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7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revalence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8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1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sp>
        <p:nvSpPr>
          <p:cNvPr id="31" name="Obdélník 30">
            <a:extLst>
              <a:ext uri="{FF2B5EF4-FFF2-40B4-BE49-F238E27FC236}">
                <a16:creationId xmlns:a16="http://schemas.microsoft.com/office/drawing/2014/main" id="{BD5140DF-3074-4F6E-8ED2-520771412FF8}"/>
              </a:ext>
            </a:extLst>
          </p:cNvPr>
          <p:cNvSpPr/>
          <p:nvPr/>
        </p:nvSpPr>
        <p:spPr>
          <a:xfrm>
            <a:off x="10603771" y="1639953"/>
            <a:ext cx="232229" cy="2223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4021D8A8-D008-4697-AC1C-88E72BFFF03A}"/>
              </a:ext>
            </a:extLst>
          </p:cNvPr>
          <p:cNvSpPr/>
          <p:nvPr/>
        </p:nvSpPr>
        <p:spPr>
          <a:xfrm>
            <a:off x="10603770" y="2157456"/>
            <a:ext cx="232229" cy="222358"/>
          </a:xfrm>
          <a:prstGeom prst="rect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413E6CF2-B54B-44CC-B0E1-F5F79475BD0F}"/>
              </a:ext>
            </a:extLst>
          </p:cNvPr>
          <p:cNvSpPr txBox="1"/>
          <p:nvPr/>
        </p:nvSpPr>
        <p:spPr>
          <a:xfrm>
            <a:off x="10825623" y="1598768"/>
            <a:ext cx="97013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2F49224-0D50-4D73-8F2F-C6E32D1DD99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095626" y="6599244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2. 3. 2022</a:t>
            </a:r>
          </a:p>
        </p:txBody>
      </p:sp>
    </p:spTree>
    <p:extLst>
      <p:ext uri="{BB962C8B-B14F-4D97-AF65-F5344CB8AC3E}">
        <p14:creationId xmlns:p14="http://schemas.microsoft.com/office/powerpoint/2010/main" val="137246455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A4FC8911-8549-4A16-8D1B-80DFEF2A7C3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1062389" y="1134877"/>
            <a:ext cx="936475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emřelí</a:t>
            </a:r>
          </a:p>
        </p:txBody>
      </p:sp>
      <p:sp>
        <p:nvSpPr>
          <p:cNvPr id="25" name="Obdélník 30">
            <a:extLst>
              <a:ext uri="{FF2B5EF4-FFF2-40B4-BE49-F238E27FC236}">
                <a16:creationId xmlns:a16="http://schemas.microsoft.com/office/drawing/2014/main" id="{DB9838B0-0A33-4A4B-986E-9D9F71AF81E2}"/>
              </a:ext>
            </a:extLst>
          </p:cNvPr>
          <p:cNvSpPr/>
          <p:nvPr/>
        </p:nvSpPr>
        <p:spPr>
          <a:xfrm>
            <a:off x="10825441" y="1345021"/>
            <a:ext cx="232229" cy="222358"/>
          </a:xfrm>
          <a:prstGeom prst="rect">
            <a:avLst/>
          </a:prstGeom>
          <a:solidFill>
            <a:srgbClr val="D3114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Obdélník 31">
            <a:extLst>
              <a:ext uri="{FF2B5EF4-FFF2-40B4-BE49-F238E27FC236}">
                <a16:creationId xmlns:a16="http://schemas.microsoft.com/office/drawing/2014/main" id="{DEA0E672-4606-4BB6-81AF-B5D1874019D7}"/>
              </a:ext>
            </a:extLst>
          </p:cNvPr>
          <p:cNvSpPr/>
          <p:nvPr/>
        </p:nvSpPr>
        <p:spPr>
          <a:xfrm>
            <a:off x="10825442" y="2161275"/>
            <a:ext cx="232229" cy="222358"/>
          </a:xfrm>
          <a:prstGeom prst="rect">
            <a:avLst/>
          </a:prstGeom>
          <a:solidFill>
            <a:schemeClr val="accent5">
              <a:lumMod val="2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Tabulka 5">
            <a:extLst>
              <a:ext uri="{FF2B5EF4-FFF2-40B4-BE49-F238E27FC236}">
                <a16:creationId xmlns:a16="http://schemas.microsoft.com/office/drawing/2014/main" id="{6EB11C65-1CDD-4550-89B7-A08D02ED3134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96240" y="1294785"/>
          <a:ext cx="4289898" cy="110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966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10173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Úmrtí z pozitivních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7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91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graphicFrame>
        <p:nvGraphicFramePr>
          <p:cNvPr id="35" name="Graf 34">
            <a:extLst>
              <a:ext uri="{FF2B5EF4-FFF2-40B4-BE49-F238E27FC236}">
                <a16:creationId xmlns:a16="http://schemas.microsoft.com/office/drawing/2014/main" id="{9825F808-DBDA-4681-8826-95CA8D4BD0F6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6827777" y="844899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6" name="Graf 35">
            <a:extLst>
              <a:ext uri="{FF2B5EF4-FFF2-40B4-BE49-F238E27FC236}">
                <a16:creationId xmlns:a16="http://schemas.microsoft.com/office/drawing/2014/main" id="{57DC76AD-7CE7-40BD-9E22-DF3C22F51241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5005129" y="862983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37" name="Graf 36">
            <a:extLst>
              <a:ext uri="{FF2B5EF4-FFF2-40B4-BE49-F238E27FC236}">
                <a16:creationId xmlns:a16="http://schemas.microsoft.com/office/drawing/2014/main" id="{8BB4745F-03D5-4071-8407-C7CEC07B41AF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8650425" y="842596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4" name="Tabulka 4">
            <a:extLst>
              <a:ext uri="{FF2B5EF4-FFF2-40B4-BE49-F238E27FC236}">
                <a16:creationId xmlns:a16="http://schemas.microsoft.com/office/drawing/2014/main" id="{D16BFC76-C19B-4A8D-8DDB-FDA0B234E69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1540765" y="2971287"/>
          <a:ext cx="10115198" cy="32523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2143">
                  <a:extLst>
                    <a:ext uri="{9D8B030D-6E8A-4147-A177-3AD203B41FA5}">
                      <a16:colId xmlns:a16="http://schemas.microsoft.com/office/drawing/2014/main" val="879520779"/>
                    </a:ext>
                  </a:extLst>
                </a:gridCol>
                <a:gridCol w="1279542">
                  <a:extLst>
                    <a:ext uri="{9D8B030D-6E8A-4147-A177-3AD203B41FA5}">
                      <a16:colId xmlns:a16="http://schemas.microsoft.com/office/drawing/2014/main" val="3367828616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1646545094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2611571609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934922861"/>
                    </a:ext>
                  </a:extLst>
                </a:gridCol>
                <a:gridCol w="2369088">
                  <a:extLst>
                    <a:ext uri="{9D8B030D-6E8A-4147-A177-3AD203B41FA5}">
                      <a16:colId xmlns:a16="http://schemas.microsoft.com/office/drawing/2014/main" val="49330528"/>
                    </a:ext>
                  </a:extLst>
                </a:gridCol>
              </a:tblGrid>
              <a:tr h="268887">
                <a:tc rowSpan="2">
                  <a:txBody>
                    <a:bodyPr/>
                    <a:lstStyle/>
                    <a:p>
                      <a:pPr algn="ctr"/>
                      <a:endParaRPr lang="cs-CZ" sz="1200" dirty="0"/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31145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Pozitivní celke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31145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Úmrtí s COVID-1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7094322"/>
                  </a:ext>
                </a:extLst>
              </a:tr>
              <a:tr h="337976">
                <a:tc vMerge="1">
                  <a:txBody>
                    <a:bodyPr/>
                    <a:lstStyle/>
                    <a:p>
                      <a:pPr algn="l" fontAlgn="b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06" marR="6906" marT="6906" marB="0" anchor="b">
                    <a:solidFill>
                      <a:srgbClr val="D3114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 pobytových službác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</a:t>
                      </a:r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úmrtí z nakažených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elkový počet úmrtí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</a:t>
                      </a:r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úmrtí v pobytových službách z celkového počtu úmrtí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6901625"/>
                  </a:ext>
                </a:extLst>
              </a:tr>
              <a:tr h="92896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74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3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2%</a:t>
                      </a:r>
                    </a:p>
                  </a:txBody>
                  <a:tcPr marL="6350" marR="6350" marT="6350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87 </a:t>
                      </a:r>
                    </a:p>
                  </a:txBody>
                  <a:tcPr marL="6350" marR="6350" marT="6350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0%</a:t>
                      </a:r>
                    </a:p>
                  </a:txBody>
                  <a:tcPr marL="6350" marR="6350" marT="6350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79671657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36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7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4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84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.3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642155320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12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7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99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8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01500357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04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1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64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3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89799253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7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6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9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27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1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46279305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64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8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00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9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10039150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41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48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2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36001489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64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5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1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19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6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56215259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69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8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6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4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2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24638357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15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9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5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95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4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196771243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52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7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7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99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5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291360765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81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9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4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72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8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88497106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5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7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33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5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968908529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69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6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7%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45 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5%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7902375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658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91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4%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126 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2%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654811687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84C2B06D-1EA4-4221-AB94-49921297612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2. 3. 2022</a:t>
            </a:r>
          </a:p>
        </p:txBody>
      </p:sp>
    </p:spTree>
    <p:extLst>
      <p:ext uri="{BB962C8B-B14F-4D97-AF65-F5344CB8AC3E}">
        <p14:creationId xmlns:p14="http://schemas.microsoft.com/office/powerpoint/2010/main" val="336402533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6EE5A5A9-1D77-4373-8BAE-354735C4B92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17499" y="1113735"/>
          <a:ext cx="5445129" cy="5415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24F8B5FE-5BCC-438A-9460-39F409715533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6096000" y="1113736"/>
          <a:ext cx="5543552" cy="5415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34BC6512-09A9-45C7-9C64-6483F36FCDF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2. 3. 2022</a:t>
            </a:r>
          </a:p>
        </p:txBody>
      </p:sp>
    </p:spTree>
    <p:extLst>
      <p:ext uri="{BB962C8B-B14F-4D97-AF65-F5344CB8AC3E}">
        <p14:creationId xmlns:p14="http://schemas.microsoft.com/office/powerpoint/2010/main" val="321703886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A5AC5B58-68B4-4B88-BC43-BA177AD2572A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6096000" y="1130962"/>
          <a:ext cx="5601341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2CC91C51-DB83-45AB-9039-0844F5E7892A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94659" y="1130963"/>
          <a:ext cx="5601341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6D4CE99E-2646-4004-897D-BD3135C0FC1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83595" y="6581001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2. 3. 2022</a:t>
            </a:r>
          </a:p>
        </p:txBody>
      </p:sp>
    </p:spTree>
    <p:extLst>
      <p:ext uri="{BB962C8B-B14F-4D97-AF65-F5344CB8AC3E}">
        <p14:creationId xmlns:p14="http://schemas.microsoft.com/office/powerpoint/2010/main" val="421461999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klient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30006DBE-A660-415B-AEC3-B17DAF8F0BB4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FE1C6E9E-768E-466F-BF16-2898D9FD2D57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425644063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pracovník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10" name="Straight Connector 4">
            <a:extLst>
              <a:ext uri="{FF2B5EF4-FFF2-40B4-BE49-F238E27FC236}">
                <a16:creationId xmlns:a16="http://schemas.microsoft.com/office/drawing/2014/main" id="{9D7E5688-CECF-4F5B-A73A-AB5B8E86B898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5">
            <a:extLst>
              <a:ext uri="{FF2B5EF4-FFF2-40B4-BE49-F238E27FC236}">
                <a16:creationId xmlns:a16="http://schemas.microsoft.com/office/drawing/2014/main" id="{86979FC1-366B-46FD-B231-EEADA63DBE0B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05411891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osob v sociálních službách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10" name="Chart 31">
            <a:extLst>
              <a:ext uri="{FF2B5EF4-FFF2-40B4-BE49-F238E27FC236}">
                <a16:creationId xmlns:a16="http://schemas.microsoft.com/office/drawing/2014/main" id="{BE5C8BE7-0F1A-4F58-98DB-BC5FB33B5BD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79571" y="969185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E23433FB-4692-4304-9144-77DE8AA9A529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792623A3-E899-4D9F-85FF-B10B9C35CD76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395588670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EE551CD-5D1A-483F-AF1A-60889BEEC2D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789" y="2"/>
            <a:ext cx="849556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pracovníků a klientů v sociálních službách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17B4FBDD-84FD-46F8-8DE6-0DA2912BA53C}"/>
              </a:ext>
            </a:extLst>
          </p:cNvPr>
          <p:cNvSpPr txBox="1"/>
          <p:nvPr/>
        </p:nvSpPr>
        <p:spPr>
          <a:xfrm>
            <a:off x="136358" y="674385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6" name="Tabulka 3">
            <a:extLst>
              <a:ext uri="{FF2B5EF4-FFF2-40B4-BE49-F238E27FC236}">
                <a16:creationId xmlns:a16="http://schemas.microsoft.com/office/drawing/2014/main" id="{53E0F6FE-76CB-4C62-8B30-56DAF497A36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9976063"/>
              </p:ext>
            </p:extLst>
          </p:nvPr>
        </p:nvGraphicFramePr>
        <p:xfrm>
          <a:off x="19789" y="951384"/>
          <a:ext cx="12105537" cy="56410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9171">
                  <a:extLst>
                    <a:ext uri="{9D8B030D-6E8A-4147-A177-3AD203B41FA5}">
                      <a16:colId xmlns:a16="http://schemas.microsoft.com/office/drawing/2014/main" val="3047479697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2271781488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314435670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1763857932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325181686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1571136039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3539305636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2277257797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3625593324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688367503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2271328030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192388027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3550907162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3480803464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1836441410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2391611248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3839918417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3617351457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3761139449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3448031023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1245696759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4234486556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3479360587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2973468614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1254722975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2146802987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6635052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629925830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2698107976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4234489596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1871110924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715990891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1852910522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502735584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3074888153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301560235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1874325632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2289037344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3821206977"/>
                    </a:ext>
                  </a:extLst>
                </a:gridCol>
              </a:tblGrid>
              <a:tr h="602838"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Září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Říjen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Listopad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Prosinec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Led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Únor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b="0" dirty="0"/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řez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ub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cs-CZ" sz="18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věten</a:t>
                      </a:r>
                      <a:b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</a:t>
                      </a:r>
                      <a:b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rpen</a:t>
                      </a:r>
                      <a:b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Září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Říj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stopad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si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den 2022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Únor 2022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řezen</a:t>
                      </a:r>
                      <a:b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k 12. 3. 22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2365609"/>
                  </a:ext>
                </a:extLst>
              </a:tr>
              <a:tr h="317283">
                <a:tc>
                  <a:txBody>
                    <a:bodyPr/>
                    <a:lstStyle/>
                    <a:p>
                      <a:endParaRPr lang="cs-CZ" sz="1200" dirty="0"/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280528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2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18626163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023884216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901331205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789182480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061071944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397107956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50750352"/>
                  </a:ext>
                </a:extLst>
              </a:tr>
              <a:tr h="39065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699752620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125061497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656524218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927203803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532720954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806938670"/>
                  </a:ext>
                </a:extLst>
              </a:tr>
              <a:tr h="39065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513666540"/>
                  </a:ext>
                </a:extLst>
              </a:tr>
              <a:tr h="342057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 součet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2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7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1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484822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8542618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zemřelých klient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7" y="934057"/>
          <a:ext cx="11671989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201932" y="3135089"/>
            <a:ext cx="31085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ě zemřelých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FA40DFCF-4D37-4845-98CB-EE8BCD3CF07B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FE5136B3-EEEC-483C-9FC4-B83BA247145B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190094993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EE551CD-5D1A-483F-AF1A-60889BEEC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89" y="2"/>
            <a:ext cx="849556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zemřelých klientů a pracovníků v sociálních službách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17B4FBDD-84FD-46F8-8DE6-0DA2912BA53C}"/>
              </a:ext>
            </a:extLst>
          </p:cNvPr>
          <p:cNvSpPr txBox="1"/>
          <p:nvPr/>
        </p:nvSpPr>
        <p:spPr>
          <a:xfrm>
            <a:off x="136358" y="674385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7" name="Tabulka 3">
            <a:extLst>
              <a:ext uri="{FF2B5EF4-FFF2-40B4-BE49-F238E27FC236}">
                <a16:creationId xmlns:a16="http://schemas.microsoft.com/office/drawing/2014/main" id="{EA3F3409-560C-4B9F-89F0-F5AF9408008B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9789" y="988368"/>
          <a:ext cx="12093905" cy="56035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8711">
                  <a:extLst>
                    <a:ext uri="{9D8B030D-6E8A-4147-A177-3AD203B41FA5}">
                      <a16:colId xmlns:a16="http://schemas.microsoft.com/office/drawing/2014/main" val="3047479697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2271781488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14435670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763857932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25181686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571136039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539305636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2277257797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625593324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688367503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2271328030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92388027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550907162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480803464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836441410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2391611248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839918417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617351457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761139449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448031023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245696759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4234486556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479360587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2973468614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254722975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2146802987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6635052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629925830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2698107976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4234489596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871110924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715990891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852910522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502735584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074888153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2380247738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44831403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4093266905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784481097"/>
                    </a:ext>
                  </a:extLst>
                </a:gridCol>
              </a:tblGrid>
              <a:tr h="602086"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Září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Říjen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Listopad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Prosinec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Led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Únor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b="0" dirty="0"/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řez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ub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cs-CZ" sz="18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věten</a:t>
                      </a:r>
                      <a:b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</a:t>
                      </a:r>
                      <a:b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rpen</a:t>
                      </a:r>
                      <a:b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Září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Říj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stopad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si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den 2022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Únor 2022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řezen</a:t>
                      </a:r>
                      <a:b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k 12. 3. 22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2365609"/>
                  </a:ext>
                </a:extLst>
              </a:tr>
              <a:tr h="316887">
                <a:tc>
                  <a:txBody>
                    <a:bodyPr/>
                    <a:lstStyle/>
                    <a:p>
                      <a:endParaRPr lang="cs-CZ" sz="1200" dirty="0"/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280528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18626163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023884216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901331205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78918248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061071944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397107956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50750352"/>
                  </a:ext>
                </a:extLst>
              </a:tr>
              <a:tr h="39016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69975262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125061497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656524218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927203803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532720954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806938670"/>
                  </a:ext>
                </a:extLst>
              </a:tr>
              <a:tr h="39016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51366654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 součet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484822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614822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/>
        </p:nvSpPr>
        <p:spPr>
          <a:xfrm>
            <a:off x="266699" y="1144575"/>
            <a:ext cx="11327021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cs-CZ" sz="2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Dle hlášení KHS došlo v říjnu a zejména v listopadu 2021 k mírnému nárůstu počtu nákaz (a ohnisek) v sociálních zařízeních. Šlo ale o počty, které byly velmi významně nižší ve srovnání např. s jarem 2021. KHS identifikovaly za říjen 15 ohnisek v sociálních zařízeních (celkem 182 nakažených osob) a za listopad 36 ohnisek s celkem 645 dosud zařazenými nakaženými osobami. Za prosinec 2021 bylo z</a:t>
            </a:r>
            <a:r>
              <a:rPr kumimoji="0" lang="cs-CZ" sz="240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e strany KHS identifikováno a nahlášeno 42 událostí v sociálních službách s celkem 592 nakaženými osobami. </a:t>
            </a:r>
          </a:p>
          <a:p>
            <a:pPr algn="ctr">
              <a:defRPr/>
            </a:pPr>
            <a:endParaRPr kumimoji="0" lang="cs-CZ" sz="2400" b="1" i="0" u="none" strike="noStrike" kern="1200" cap="none" spc="0" normalizeH="0" noProof="0" dirty="0">
              <a:ln>
                <a:noFill/>
              </a:ln>
              <a:effectLst/>
              <a:uLnTx/>
              <a:uFillTx/>
              <a:latin typeface="Calibri" panose="020F0502020204030204"/>
            </a:endParaRP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Za leden je hlášeno 33 událostí se 718 nakaženými, za únor je dosud nahlášeno </a:t>
            </a: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77 událostí s 1 832 nakaženými, za březen 13 události s 234 nakaženými (stav k 12. 3.). </a:t>
            </a: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V současnosti tedy registrujeme nárůst počtu nákaz následovaný opětovným poklesem. </a:t>
            </a:r>
            <a:endParaRPr lang="cs-CZ" sz="2400" dirty="0">
              <a:solidFill>
                <a:srgbClr val="0000FF"/>
              </a:solidFill>
              <a:latin typeface="Calibri" panose="020F0502020204030204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186398" y="5668316"/>
            <a:ext cx="1319062" cy="545849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Podnadpis 4">
            <a:extLst>
              <a:ext uri="{FF2B5EF4-FFF2-40B4-BE49-F238E27FC236}">
                <a16:creationId xmlns:a16="http://schemas.microsoft.com/office/drawing/2014/main" id="{FD2CE6B4-35B6-4010-B3CB-EE34C0274624}"/>
              </a:ext>
            </a:extLst>
          </p:cNvPr>
          <p:cNvSpPr txBox="1">
            <a:spLocks/>
          </p:cNvSpPr>
          <p:nvPr/>
        </p:nvSpPr>
        <p:spPr>
          <a:xfrm>
            <a:off x="266699" y="118297"/>
            <a:ext cx="11658601" cy="6036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cs-CZ" sz="3400" b="1" dirty="0"/>
              <a:t>Výstupy šetření KHS: souhrn vývoje od podzimu 2021</a:t>
            </a:r>
          </a:p>
        </p:txBody>
      </p:sp>
    </p:spTree>
    <p:extLst>
      <p:ext uri="{BB962C8B-B14F-4D97-AF65-F5344CB8AC3E}">
        <p14:creationId xmlns:p14="http://schemas.microsoft.com/office/powerpoint/2010/main" val="11637983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cs-CZ" dirty="0"/>
              <a:t>Klienti a pracovníci v sociálních službách vyžadující hospitalizaci z důvodu COVID-19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505507" y="1029671"/>
          <a:ext cx="11518821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6699F624-D5B2-4011-B4A6-2BC995418F25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94511879-45E4-4E33-970C-77CDADFB8F6C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21539896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cs-CZ" dirty="0"/>
              <a:t>Klienti a pracovníci v sociálních službách s těžkým průběhem nemoci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486736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BC4FF1E4-8D78-4119-AE73-5ECF233E5080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36715F8D-6236-491C-8E3C-B3955460BFC3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56423123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7703" y="4066289"/>
            <a:ext cx="9869424" cy="1564690"/>
          </a:xfrm>
        </p:spPr>
        <p:txBody>
          <a:bodyPr>
            <a:noAutofit/>
          </a:bodyPr>
          <a:lstStyle/>
          <a:p>
            <a:r>
              <a:rPr lang="cs-CZ" sz="4000" b="1" dirty="0">
                <a:solidFill>
                  <a:schemeClr val="tx1"/>
                </a:solidFill>
              </a:rPr>
              <a:t>Příloha: retrospektivní přehled hlášení KHS po měsících</a:t>
            </a:r>
          </a:p>
        </p:txBody>
      </p:sp>
    </p:spTree>
    <p:extLst>
      <p:ext uri="{BB962C8B-B14F-4D97-AF65-F5344CB8AC3E}">
        <p14:creationId xmlns:p14="http://schemas.microsoft.com/office/powerpoint/2010/main" val="247228648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E407BC21-98D2-4484-9EC1-D74879DC1DFE}"/>
              </a:ext>
            </a:extLst>
          </p:cNvPr>
          <p:cNvGraphicFramePr>
            <a:graphicFrameLocks noGrp="1"/>
          </p:cNvGraphicFramePr>
          <p:nvPr/>
        </p:nvGraphicFramePr>
        <p:xfrm>
          <a:off x="7357698" y="5556199"/>
          <a:ext cx="4559770" cy="860988"/>
        </p:xfrm>
        <a:graphic>
          <a:graphicData uri="http://schemas.openxmlformats.org/drawingml/2006/table">
            <a:tbl>
              <a:tblPr/>
              <a:tblGrid>
                <a:gridCol w="911954">
                  <a:extLst>
                    <a:ext uri="{9D8B030D-6E8A-4147-A177-3AD203B41FA5}">
                      <a16:colId xmlns:a16="http://schemas.microsoft.com/office/drawing/2014/main" val="3781823447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3939987608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2504438164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1301809795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782449002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0873528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6716779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0 </a:t>
            </a:r>
          </a:p>
        </p:txBody>
      </p:sp>
    </p:spTree>
    <p:extLst>
      <p:ext uri="{BB962C8B-B14F-4D97-AF65-F5344CB8AC3E}">
        <p14:creationId xmlns:p14="http://schemas.microsoft.com/office/powerpoint/2010/main" val="55835027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83B49AA-8160-4750-A999-FE1211C7E208}"/>
              </a:ext>
            </a:extLst>
          </p:cNvPr>
          <p:cNvGraphicFramePr>
            <a:graphicFrameLocks noGrp="1"/>
          </p:cNvGraphicFramePr>
          <p:nvPr/>
        </p:nvGraphicFramePr>
        <p:xfrm>
          <a:off x="7366472" y="5556199"/>
          <a:ext cx="4550995" cy="860988"/>
        </p:xfrm>
        <a:graphic>
          <a:graphicData uri="http://schemas.openxmlformats.org/drawingml/2006/table">
            <a:tbl>
              <a:tblPr/>
              <a:tblGrid>
                <a:gridCol w="910199">
                  <a:extLst>
                    <a:ext uri="{9D8B030D-6E8A-4147-A177-3AD203B41FA5}">
                      <a16:colId xmlns:a16="http://schemas.microsoft.com/office/drawing/2014/main" val="145596155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1323571245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2385094641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740278421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2618420229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453447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800920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6/2020 </a:t>
            </a:r>
          </a:p>
        </p:txBody>
      </p:sp>
    </p:spTree>
    <p:extLst>
      <p:ext uri="{BB962C8B-B14F-4D97-AF65-F5344CB8AC3E}">
        <p14:creationId xmlns:p14="http://schemas.microsoft.com/office/powerpoint/2010/main" val="290703729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F88B3E13-B2CE-4977-A51D-63EE09726F48}"/>
              </a:ext>
            </a:extLst>
          </p:cNvPr>
          <p:cNvGraphicFramePr>
            <a:graphicFrameLocks noGrp="1"/>
          </p:cNvGraphicFramePr>
          <p:nvPr/>
        </p:nvGraphicFramePr>
        <p:xfrm>
          <a:off x="7357928" y="5556199"/>
          <a:ext cx="4559540" cy="853440"/>
        </p:xfrm>
        <a:graphic>
          <a:graphicData uri="http://schemas.openxmlformats.org/drawingml/2006/table">
            <a:tbl>
              <a:tblPr/>
              <a:tblGrid>
                <a:gridCol w="911908">
                  <a:extLst>
                    <a:ext uri="{9D8B030D-6E8A-4147-A177-3AD203B41FA5}">
                      <a16:colId xmlns:a16="http://schemas.microsoft.com/office/drawing/2014/main" val="307581347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663620388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1150320877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545488870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400996549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00566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1454895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7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7/2020 </a:t>
            </a:r>
          </a:p>
        </p:txBody>
      </p:sp>
    </p:spTree>
    <p:extLst>
      <p:ext uri="{BB962C8B-B14F-4D97-AF65-F5344CB8AC3E}">
        <p14:creationId xmlns:p14="http://schemas.microsoft.com/office/powerpoint/2010/main" val="260596030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E4A733E4-6C6F-4673-8EB3-43E9F53AA9A4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43019"/>
          <a:ext cx="4568082" cy="874168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532681158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858746802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77087480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2392886017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2010144985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111499919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9400213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7293707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.–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.–9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.–16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8.–23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8.–30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.–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8/2020 </a:t>
            </a:r>
          </a:p>
        </p:txBody>
      </p:sp>
    </p:spTree>
    <p:extLst>
      <p:ext uri="{BB962C8B-B14F-4D97-AF65-F5344CB8AC3E}">
        <p14:creationId xmlns:p14="http://schemas.microsoft.com/office/powerpoint/2010/main" val="261855336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7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9/2020 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6716FADC-95C9-4EF9-8F0F-16C13097F4FC}"/>
              </a:ext>
            </a:extLst>
          </p:cNvPr>
          <p:cNvGraphicFramePr>
            <a:graphicFrameLocks noGrp="1"/>
          </p:cNvGraphicFramePr>
          <p:nvPr/>
        </p:nvGraphicFramePr>
        <p:xfrm>
          <a:off x="7357928" y="5556199"/>
          <a:ext cx="4559540" cy="853440"/>
        </p:xfrm>
        <a:graphic>
          <a:graphicData uri="http://schemas.openxmlformats.org/drawingml/2006/table">
            <a:tbl>
              <a:tblPr/>
              <a:tblGrid>
                <a:gridCol w="911908">
                  <a:extLst>
                    <a:ext uri="{9D8B030D-6E8A-4147-A177-3AD203B41FA5}">
                      <a16:colId xmlns:a16="http://schemas.microsoft.com/office/drawing/2014/main" val="4036163115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73645088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127902353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734581894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2485002274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350014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09606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086264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E048D0C3-4A1B-4F04-8420-3640670E172C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7"/>
          <a:ext cx="4564170" cy="853442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72228755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30873051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49226697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08627300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805520120"/>
                    </a:ext>
                  </a:extLst>
                </a:gridCol>
              </a:tblGrid>
              <a:tr h="4267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99578"/>
                  </a:ext>
                </a:extLst>
              </a:tr>
              <a:tr h="4267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6539175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7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9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5 (3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8 (5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0 (5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2 (5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0/2020 </a:t>
            </a:r>
          </a:p>
        </p:txBody>
      </p:sp>
    </p:spTree>
    <p:extLst>
      <p:ext uri="{BB962C8B-B14F-4D97-AF65-F5344CB8AC3E}">
        <p14:creationId xmlns:p14="http://schemas.microsoft.com/office/powerpoint/2010/main" val="171708960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7F0AA7A5-EFAC-4CD9-9800-84DEB34D6674}"/>
              </a:ext>
            </a:extLst>
          </p:cNvPr>
          <p:cNvGraphicFramePr>
            <a:graphicFrameLocks noGrp="1"/>
          </p:cNvGraphicFramePr>
          <p:nvPr/>
        </p:nvGraphicFramePr>
        <p:xfrm>
          <a:off x="7358909" y="5543019"/>
          <a:ext cx="4558560" cy="874166"/>
        </p:xfrm>
        <a:graphic>
          <a:graphicData uri="http://schemas.openxmlformats.org/drawingml/2006/table">
            <a:tbl>
              <a:tblPr/>
              <a:tblGrid>
                <a:gridCol w="759760">
                  <a:extLst>
                    <a:ext uri="{9D8B030D-6E8A-4147-A177-3AD203B41FA5}">
                      <a16:colId xmlns:a16="http://schemas.microsoft.com/office/drawing/2014/main" val="431450114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1293986261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870908832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3418553957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3813615049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19506064"/>
                    </a:ext>
                  </a:extLst>
                </a:gridCol>
              </a:tblGrid>
              <a:tr h="437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2213456"/>
                  </a:ext>
                </a:extLst>
              </a:tr>
              <a:tr h="437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D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87621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3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2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2 (5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9 (6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4 (6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 (5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 (2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1/2020 </a:t>
            </a:r>
          </a:p>
        </p:txBody>
      </p:sp>
    </p:spTree>
    <p:extLst>
      <p:ext uri="{BB962C8B-B14F-4D97-AF65-F5344CB8AC3E}">
        <p14:creationId xmlns:p14="http://schemas.microsoft.com/office/powerpoint/2010/main" val="21189415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B24449AE-C627-4401-ABB7-7FCAA7C4AB3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5688201"/>
              </p:ext>
            </p:extLst>
          </p:nvPr>
        </p:nvGraphicFramePr>
        <p:xfrm>
          <a:off x="1003424" y="5723959"/>
          <a:ext cx="10940916" cy="731520"/>
        </p:xfrm>
        <a:graphic>
          <a:graphicData uri="http://schemas.openxmlformats.org/drawingml/2006/table">
            <a:tbl>
              <a:tblPr/>
              <a:tblGrid>
                <a:gridCol w="111642">
                  <a:extLst>
                    <a:ext uri="{9D8B030D-6E8A-4147-A177-3AD203B41FA5}">
                      <a16:colId xmlns:a16="http://schemas.microsoft.com/office/drawing/2014/main" val="328110587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2860106463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1242732700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2971944878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466368937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2937383919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1336960168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4230121325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3235352070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1621287732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2336593698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2042355046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1731749753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410716689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226774048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2577312291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1724099039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916477565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3005228882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3212750419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247474851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199645838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3476489553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3239460962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1073133535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2261797522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4263961900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3249131897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348585665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1055316042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2844417789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826427182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1155618203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1501406784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3046599926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1146559605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1650716892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1196642596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300800761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1775799434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1142183572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927058406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3490083129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3190166160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3040804606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303578468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3584663890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4288403535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901353842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1925220622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1199719554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2167409562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3175102156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855388897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1835061691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2346461412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1717801936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3440239992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2816975540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1212734298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3608789038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1587805030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691553975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1822662329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3014590706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868481388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2496585178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1129074376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2336559929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491341266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1820641494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2793484378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3515553661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4030348734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690636276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3051390103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2397253860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1685820722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4010707190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1556927112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3817408158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2970247718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3820416424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3325571943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2902102492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2275004261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3054914524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3458009933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1805813580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2459170397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55779676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2606355123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3280417364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4230823224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552141582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1534074277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2572510678"/>
                    </a:ext>
                  </a:extLst>
                </a:gridCol>
                <a:gridCol w="111642">
                  <a:extLst>
                    <a:ext uri="{9D8B030D-6E8A-4147-A177-3AD203B41FA5}">
                      <a16:colId xmlns:a16="http://schemas.microsoft.com/office/drawing/2014/main" val="219062603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994355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6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2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4322019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53787764"/>
              </p:ext>
            </p:extLst>
          </p:nvPr>
        </p:nvGraphicFramePr>
        <p:xfrm>
          <a:off x="485775" y="895349"/>
          <a:ext cx="11608237" cy="48286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90905" y="5727649"/>
          <a:ext cx="11853445" cy="73152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7025837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2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9" name="TextovéPole 9">
            <a:extLst>
              <a:ext uri="{FF2B5EF4-FFF2-40B4-BE49-F238E27FC236}">
                <a16:creationId xmlns:a16="http://schemas.microsoft.com/office/drawing/2014/main" id="{6C2CDEC2-B893-491C-BB5B-D4EEE3DC82DC}"/>
              </a:ext>
            </a:extLst>
          </p:cNvPr>
          <p:cNvSpPr txBox="1"/>
          <p:nvPr/>
        </p:nvSpPr>
        <p:spPr>
          <a:xfrm>
            <a:off x="8274425" y="6516527"/>
            <a:ext cx="38195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12. 3. 2022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D81D70FC-F528-494D-8C3A-D477F854D763}"/>
              </a:ext>
            </a:extLst>
          </p:cNvPr>
          <p:cNvSpPr/>
          <p:nvPr/>
        </p:nvSpPr>
        <p:spPr>
          <a:xfrm>
            <a:off x="10842357" y="3390334"/>
            <a:ext cx="115448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 předběžné údaje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0E67781F-87FB-42C9-899D-4460B89C4830}"/>
              </a:ext>
            </a:extLst>
          </p:cNvPr>
          <p:cNvSpPr/>
          <p:nvPr/>
        </p:nvSpPr>
        <p:spPr>
          <a:xfrm>
            <a:off x="11753266" y="4716302"/>
            <a:ext cx="24878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722281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82761B6C-BAB4-4CB7-9972-A9ACAC518D35}"/>
              </a:ext>
            </a:extLst>
          </p:cNvPr>
          <p:cNvGraphicFramePr>
            <a:graphicFrameLocks noGrp="1"/>
          </p:cNvGraphicFramePr>
          <p:nvPr/>
        </p:nvGraphicFramePr>
        <p:xfrm>
          <a:off x="7362824" y="5543020"/>
          <a:ext cx="4554645" cy="853440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240915617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472712141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13589210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56152929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387565420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4380407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9490204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4 (3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2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2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2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2/2020</a:t>
            </a:r>
          </a:p>
        </p:txBody>
      </p:sp>
    </p:spTree>
    <p:extLst>
      <p:ext uri="{BB962C8B-B14F-4D97-AF65-F5344CB8AC3E}">
        <p14:creationId xmlns:p14="http://schemas.microsoft.com/office/powerpoint/2010/main" val="394361220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27074580-7378-4DC7-905D-4C6D0765102E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85530437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611719903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095470282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54514466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1753944691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96732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609509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3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9 (3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0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5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1/2021</a:t>
            </a:r>
          </a:p>
        </p:txBody>
      </p:sp>
      <p:sp>
        <p:nvSpPr>
          <p:cNvPr id="20" name="TextovéPole 9">
            <a:extLst>
              <a:ext uri="{FF2B5EF4-FFF2-40B4-BE49-F238E27FC236}">
                <a16:creationId xmlns:a16="http://schemas.microsoft.com/office/drawing/2014/main" id="{7E384A36-F04C-4CFB-AE35-7DB6EC2667C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986690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DC8940F4-E367-4975-9E2F-DC4BD5527F99}"/>
              </a:ext>
            </a:extLst>
          </p:cNvPr>
          <p:cNvGraphicFramePr>
            <a:graphicFrameLocks noGrp="1"/>
          </p:cNvGraphicFramePr>
          <p:nvPr/>
        </p:nvGraphicFramePr>
        <p:xfrm>
          <a:off x="7355846" y="5556199"/>
          <a:ext cx="4561624" cy="853440"/>
        </p:xfrm>
        <a:graphic>
          <a:graphicData uri="http://schemas.openxmlformats.org/drawingml/2006/table">
            <a:tbl>
              <a:tblPr/>
              <a:tblGrid>
                <a:gridCol w="1140406">
                  <a:extLst>
                    <a:ext uri="{9D8B030D-6E8A-4147-A177-3AD203B41FA5}">
                      <a16:colId xmlns:a16="http://schemas.microsoft.com/office/drawing/2014/main" val="1626908255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993666441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582674586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186028161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8709309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6049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241769" y="1111953"/>
          <a:ext cx="5595008" cy="5305234"/>
        </p:xfrm>
        <a:graphic>
          <a:graphicData uri="http://schemas.openxmlformats.org/drawingml/2006/table">
            <a:tbl>
              <a:tblPr/>
              <a:tblGrid>
                <a:gridCol w="1951652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0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0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2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BDF07863-E626-446B-8502-11E8F41822DD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983496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C356167-F022-472E-9A90-09B706895E01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574125839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148750124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506814479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39752218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12628845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342833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31719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3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3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866196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9CC44A54-A727-4A27-AAD6-9EDB9E74857F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517574968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404557882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60649300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507872686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43882254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496986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280242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4/2021</a:t>
            </a:r>
          </a:p>
        </p:txBody>
      </p:sp>
      <p:sp>
        <p:nvSpPr>
          <p:cNvPr id="11" name="TextovéPole 9">
            <a:extLst>
              <a:ext uri="{FF2B5EF4-FFF2-40B4-BE49-F238E27FC236}">
                <a16:creationId xmlns:a16="http://schemas.microsoft.com/office/drawing/2014/main" id="{1DF2C9EC-1343-455F-B625-1BA8F6D4F4A8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818799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DBFAEF02-39D0-40BD-A8AF-48F84CD1AFC9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56199"/>
          <a:ext cx="4568082" cy="853440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1628781168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501123856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4130467436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686574967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6641087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825222212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888824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0606459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1</a:t>
            </a:r>
          </a:p>
        </p:txBody>
      </p:sp>
    </p:spTree>
    <p:extLst>
      <p:ext uri="{BB962C8B-B14F-4D97-AF65-F5344CB8AC3E}">
        <p14:creationId xmlns:p14="http://schemas.microsoft.com/office/powerpoint/2010/main" val="71210809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5CC47735-3001-43A6-B955-E419A3EC1853}"/>
              </a:ext>
            </a:extLst>
          </p:cNvPr>
          <p:cNvGraphicFramePr>
            <a:graphicFrameLocks noGrp="1"/>
          </p:cNvGraphicFramePr>
          <p:nvPr/>
        </p:nvGraphicFramePr>
        <p:xfrm>
          <a:off x="7357964" y="5556199"/>
          <a:ext cx="4559505" cy="853440"/>
        </p:xfrm>
        <a:graphic>
          <a:graphicData uri="http://schemas.openxmlformats.org/drawingml/2006/table">
            <a:tbl>
              <a:tblPr/>
              <a:tblGrid>
                <a:gridCol w="911901">
                  <a:extLst>
                    <a:ext uri="{9D8B030D-6E8A-4147-A177-3AD203B41FA5}">
                      <a16:colId xmlns:a16="http://schemas.microsoft.com/office/drawing/2014/main" val="1486795782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322571971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346167304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2249125035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840746938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04164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0949039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6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83470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7ED1146-C9C8-494A-B83A-6D1444C47513}"/>
              </a:ext>
            </a:extLst>
          </p:cNvPr>
          <p:cNvGraphicFramePr>
            <a:graphicFrameLocks noGrp="1"/>
          </p:cNvGraphicFramePr>
          <p:nvPr/>
        </p:nvGraphicFramePr>
        <p:xfrm>
          <a:off x="7362826" y="5543020"/>
          <a:ext cx="4554640" cy="866620"/>
        </p:xfrm>
        <a:graphic>
          <a:graphicData uri="http://schemas.openxmlformats.org/drawingml/2006/table">
            <a:tbl>
              <a:tblPr/>
              <a:tblGrid>
                <a:gridCol w="910928">
                  <a:extLst>
                    <a:ext uri="{9D8B030D-6E8A-4147-A177-3AD203B41FA5}">
                      <a16:colId xmlns:a16="http://schemas.microsoft.com/office/drawing/2014/main" val="1215948292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747667204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3344201301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3217620225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485669683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1635236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7535690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7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843774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6A6BDA19-CED9-4AD8-A8D3-38CA86903F22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56199"/>
          <a:ext cx="4568082" cy="860988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2801235750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52134165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138704475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7626496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54262943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107797777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0469714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095784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8/2021</a:t>
            </a:r>
          </a:p>
        </p:txBody>
      </p:sp>
    </p:spTree>
    <p:extLst>
      <p:ext uri="{BB962C8B-B14F-4D97-AF65-F5344CB8AC3E}">
        <p14:creationId xmlns:p14="http://schemas.microsoft.com/office/powerpoint/2010/main" val="208460716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566897C-047E-47E5-B3A3-E78E699656D0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43019"/>
          <a:ext cx="4564170" cy="874168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358418510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346526545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768973588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21623622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809614840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3491470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7683163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9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9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34091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F76C3E24-E9E7-4202-8B48-A716904320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001640"/>
              </p:ext>
            </p:extLst>
          </p:nvPr>
        </p:nvGraphicFramePr>
        <p:xfrm>
          <a:off x="7428768" y="5737704"/>
          <a:ext cx="4564879" cy="731520"/>
        </p:xfrm>
        <a:graphic>
          <a:graphicData uri="http://schemas.openxmlformats.org/drawingml/2006/table">
            <a:tbl>
              <a:tblPr/>
              <a:tblGrid>
                <a:gridCol w="198473">
                  <a:extLst>
                    <a:ext uri="{9D8B030D-6E8A-4147-A177-3AD203B41FA5}">
                      <a16:colId xmlns:a16="http://schemas.microsoft.com/office/drawing/2014/main" val="4054237852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2887560556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3669225899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1591214454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902376461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4062836956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1340405007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662611128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767709424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3196272421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3873263194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2352877774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3842178275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124679403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1761294311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2804101211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634789528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3163544956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1479461060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631059703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3482498870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1948063352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39426669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045984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B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9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2530414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343901" y="6554627"/>
            <a:ext cx="3750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12. 3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4" name="Obdélník 11">
            <a:extLst>
              <a:ext uri="{FF2B5EF4-FFF2-40B4-BE49-F238E27FC236}">
                <a16:creationId xmlns:a16="http://schemas.microsoft.com/office/drawing/2014/main" id="{38C2AC7A-9C23-4CCF-B20F-266DA9F7115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0905" y="6541413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Tabulka 14">
            <a:extLst>
              <a:ext uri="{FF2B5EF4-FFF2-40B4-BE49-F238E27FC236}">
                <a16:creationId xmlns:a16="http://schemas.microsoft.com/office/drawing/2014/main" id="{50CA38BC-195A-4265-A337-74D0D69A5132}"/>
              </a:ext>
            </a:extLst>
          </p:cNvPr>
          <p:cNvGraphicFramePr>
            <a:graphicFrameLocks noGrp="1"/>
          </p:cNvGraphicFramePr>
          <p:nvPr/>
        </p:nvGraphicFramePr>
        <p:xfrm>
          <a:off x="6600825" y="1314771"/>
          <a:ext cx="5393547" cy="365760"/>
        </p:xfrm>
        <a:graphic>
          <a:graphicData uri="http://schemas.openxmlformats.org/drawingml/2006/table">
            <a:tbl>
              <a:tblPr/>
              <a:tblGrid>
                <a:gridCol w="779182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332878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 denně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graphicFrame>
        <p:nvGraphicFramePr>
          <p:cNvPr id="19" name="Graf 12">
            <a:extLst>
              <a:ext uri="{FF2B5EF4-FFF2-40B4-BE49-F238E27FC236}">
                <a16:creationId xmlns:a16="http://schemas.microsoft.com/office/drawing/2014/main" id="{72589205-FA3E-4546-869C-5462A9B69E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43883904"/>
              </p:ext>
            </p:extLst>
          </p:nvPr>
        </p:nvGraphicFramePr>
        <p:xfrm>
          <a:off x="6895909" y="1703559"/>
          <a:ext cx="5215710" cy="3959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Obdélník 13">
            <a:extLst>
              <a:ext uri="{FF2B5EF4-FFF2-40B4-BE49-F238E27FC236}">
                <a16:creationId xmlns:a16="http://schemas.microsoft.com/office/drawing/2014/main" id="{0CBAB1B0-E713-42C3-B005-9F720593CBF2}"/>
              </a:ext>
            </a:extLst>
          </p:cNvPr>
          <p:cNvSpPr/>
          <p:nvPr/>
        </p:nvSpPr>
        <p:spPr>
          <a:xfrm>
            <a:off x="6986345" y="955453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5" name="Tabulka 14">
            <a:extLst>
              <a:ext uri="{FF2B5EF4-FFF2-40B4-BE49-F238E27FC236}">
                <a16:creationId xmlns:a16="http://schemas.microsoft.com/office/drawing/2014/main" id="{E3F2A5EE-FD0D-4E26-AEC0-D9CFDEEC1E60}"/>
              </a:ext>
            </a:extLst>
          </p:cNvPr>
          <p:cNvGraphicFramePr>
            <a:graphicFrameLocks noGrp="1"/>
          </p:cNvGraphicFramePr>
          <p:nvPr/>
        </p:nvGraphicFramePr>
        <p:xfrm>
          <a:off x="6686550" y="5737704"/>
          <a:ext cx="5307832" cy="731520"/>
        </p:xfrm>
        <a:graphic>
          <a:graphicData uri="http://schemas.openxmlformats.org/drawingml/2006/table">
            <a:tbl>
              <a:tblPr/>
              <a:tblGrid>
                <a:gridCol w="751112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2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6" name="Obdélník 13">
            <a:extLst>
              <a:ext uri="{FF2B5EF4-FFF2-40B4-BE49-F238E27FC236}">
                <a16:creationId xmlns:a16="http://schemas.microsoft.com/office/drawing/2014/main" id="{0ABA3511-66CD-4489-AF5A-F87C351FF89D}"/>
              </a:ext>
            </a:extLst>
          </p:cNvPr>
          <p:cNvSpPr/>
          <p:nvPr/>
        </p:nvSpPr>
        <p:spPr>
          <a:xfrm>
            <a:off x="190492" y="571917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0 – 03/2022 k 12. 3.</a:t>
            </a:r>
          </a:p>
        </p:txBody>
      </p:sp>
      <p:sp>
        <p:nvSpPr>
          <p:cNvPr id="27" name="Obdélník 26">
            <a:extLst>
              <a:ext uri="{FF2B5EF4-FFF2-40B4-BE49-F238E27FC236}">
                <a16:creationId xmlns:a16="http://schemas.microsoft.com/office/drawing/2014/main" id="{7A17A29C-4F23-47B3-905B-F8299A2B9E6E}"/>
              </a:ext>
            </a:extLst>
          </p:cNvPr>
          <p:cNvSpPr/>
          <p:nvPr/>
        </p:nvSpPr>
        <p:spPr>
          <a:xfrm>
            <a:off x="11586584" y="5534255"/>
            <a:ext cx="56137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 12. 3.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8" name="Tabulka 10">
            <a:extLst>
              <a:ext uri="{FF2B5EF4-FFF2-40B4-BE49-F238E27FC236}">
                <a16:creationId xmlns:a16="http://schemas.microsoft.com/office/drawing/2014/main" id="{0EE03235-90B5-4828-A095-CA13F72044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6496439"/>
              </p:ext>
            </p:extLst>
          </p:nvPr>
        </p:nvGraphicFramePr>
        <p:xfrm>
          <a:off x="123825" y="914354"/>
          <a:ext cx="6483890" cy="5641271"/>
        </p:xfrm>
        <a:graphic>
          <a:graphicData uri="http://schemas.openxmlformats.org/drawingml/2006/table">
            <a:tbl>
              <a:tblPr/>
              <a:tblGrid>
                <a:gridCol w="522545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2675377350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1722521615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1368621166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2832739057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1571506889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1159134526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2805932271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2944690473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650913940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274616259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121507709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4084179970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33585517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1804655378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459635882"/>
                    </a:ext>
                  </a:extLst>
                </a:gridCol>
              </a:tblGrid>
              <a:tr h="592631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</a:t>
                      </a:r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Počet událostí)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 20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/ 2022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/ 2022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 12. 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9 (2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0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044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2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2E8C36D6-DA3C-4986-BAE3-2CCA3C1995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1017330"/>
              </p:ext>
            </p:extLst>
          </p:nvPr>
        </p:nvGraphicFramePr>
        <p:xfrm>
          <a:off x="7428768" y="1226200"/>
          <a:ext cx="4564856" cy="463535"/>
        </p:xfrm>
        <a:graphic>
          <a:graphicData uri="http://schemas.openxmlformats.org/drawingml/2006/table">
            <a:tbl>
              <a:tblPr/>
              <a:tblGrid>
                <a:gridCol w="198472">
                  <a:extLst>
                    <a:ext uri="{9D8B030D-6E8A-4147-A177-3AD203B41FA5}">
                      <a16:colId xmlns:a16="http://schemas.microsoft.com/office/drawing/2014/main" val="2007565473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299315511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3675066560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2550847649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3666919793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2667690919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1388305476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1666415007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135980331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571387238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1780286499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644994323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1264606494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534343606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33218206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3010799213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1890011211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1015981186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2033443561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4189009272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10069616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1178306335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1847419719"/>
                    </a:ext>
                  </a:extLst>
                </a:gridCol>
              </a:tblGrid>
              <a:tr h="97775"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1023389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8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,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,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9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,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A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9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,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69450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068860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6EE2C37-338A-492C-9788-E31A89B746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2802625"/>
              </p:ext>
            </p:extLst>
          </p:nvPr>
        </p:nvGraphicFramePr>
        <p:xfrm>
          <a:off x="7343774" y="5543019"/>
          <a:ext cx="4573695" cy="866620"/>
        </p:xfrm>
        <a:graphic>
          <a:graphicData uri="http://schemas.openxmlformats.org/drawingml/2006/table">
            <a:tbl>
              <a:tblPr/>
              <a:tblGrid>
                <a:gridCol w="914739">
                  <a:extLst>
                    <a:ext uri="{9D8B030D-6E8A-4147-A177-3AD203B41FA5}">
                      <a16:colId xmlns:a16="http://schemas.microsoft.com/office/drawing/2014/main" val="2232248336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803164521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492686028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860026255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241218159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672111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3565876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0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9898717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832104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240492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57188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. – 7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28F5E2B2-F309-45AF-8A83-D5361039864E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9890"/>
          <a:ext cx="9370019" cy="533481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011204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9702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Počet nakažených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, Štěrboho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rybníka Vícemě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Centrin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irovická, pav. A a B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iální služby Běch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Alzheimer Rozto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Dómském pahorku Litomě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Dukla Vejprt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omov Dolní zámek Teplice n 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něženka Jese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Na Výsluní Hoř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á služba Rakov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Myslibo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é centrum Kamenic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vízda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Máj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Proseč-Obořiště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Liščině, Čtyřl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Březové Hor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z.ú.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 Máj České Budějovice 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MSSS Marie Náchod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3105498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okol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32507058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inka Němč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4214170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družení Veleta - domov pro osoby se zdravotním postižení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2427572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UMORAVY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757913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VÁŽANY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9124421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,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9AE8B431-D698-44D7-B21C-AB8F1486EA46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434626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580988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8. 1. – 14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9FB16BE5-ABC7-48B8-8300-A2AB2039A214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944641"/>
          <a:ext cx="9684753" cy="55473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6907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ty Cerhe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 Pečk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běšičky Duha Písek chráněné bydlen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a24, Vila Vita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no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Kyjovice (Opava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Osoblaha, Klášterní 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, Krnov, Rooseveltova ul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vězda Poděbrad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ada spasy K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lunovrat, Ostrava-Přívoz, příspěvková organiza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Slaný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Pohod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Odr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dlení ARCHA - Nový Jičí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olní Cetn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CSS Odloch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osoby se zdravotním postižením Zběšičky, Bernartice u Milevsk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Na Stříbrném vrch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y Havlíčkův Brod, Humpolec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UHA - Nový Jičín, Máchov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á Sluneč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0213320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ral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4012682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arcov Liberec, o.p.s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6382071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KV Bílá Vod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 Zahradách Zd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1099837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lunce všem Unhošť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24214170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Loch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6141554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tky Vojtěch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1555348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dům Soběsla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9124421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in zám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667D330D-9FE5-49E1-ACFD-E4A842FA346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4439644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5. 1. – 21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9FB16BE5-ABC7-48B8-8300-A2AB2039A214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49415"/>
          <a:ext cx="9684753" cy="5313276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227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ortenzie Bořan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omovy Na Třešňovce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SVKŘÍŽE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BORŠICE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BARBORKA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DASENIOR s.r.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10 DPS Zvonk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llevue Vila Prague, Sl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Kostelec nad Černými Les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urojed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2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DOZP Domovy Na Třešňov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vený Vr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Mládežnická Jir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Police I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P2, J.Masary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, Drhovl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odrý kám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Wágnerka Český Kruml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ZC Leti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Lip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027302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Chomut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3897962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PAČLAVICE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7240389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KCH Charitní domov Město Albrechtice, Úzká 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9EABA060-817D-4986-8BA1-491519C478A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906801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22. 1. – 31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0365"/>
          <a:ext cx="9684753" cy="521807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7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Kol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Vrchlického Vejprt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Ždí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ČČK Tep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 Janouch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 Anima Čásla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Voj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GOM  Pňov-Předhrad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omov V Podzámčí, Říh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umpol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Salvátor Krnov, M.Švabinského 10, Kr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Větr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Farní charita 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dlč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natorium Loto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Všebo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rásné Břez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Štěrboho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Anežky Benátky nad Jizer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P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Libníč a Centrum sociálních služeb Empat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x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SENIORCENTRUM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88086200-61E2-48BD-9BE8-7E58FE39E79B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788469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2. – 7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0365"/>
          <a:ext cx="9684753" cy="5399007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453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ovysočan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Pod Kavčí Skálou Říč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ociálních služeb  Staroměstská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Milíčeve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lezská Humanita, Orlová - Laz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Čásla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Horní Pla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ntána - centrum sociálních služeb Hluč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Pod Skalou Mníšek p. Brd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lokánek Hosti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 Vršovický zámeč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d Skalami Kurovod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r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voneček Byl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kadie Tep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dkrušnohorské domovy soc. služeb Dub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40447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a centrum denních služeb Jablonec nad Nisou (Domovy pro osoby se zdravotním postižením – pro že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SS Skřiv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05869068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Pelhřim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ožice - DpS a DZ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Jaroš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Bažant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4012682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oniklec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chlovice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245261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8. 2. – 17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982740"/>
          <a:ext cx="9684753" cy="548247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935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Název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Zátiší Rakov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ojš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Haus Vacov, s.r.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SC Nechanice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pS Borohrád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pro seniory Hnoj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Oáza Stars Luž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Dědina České Meziříč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Pohoda Dolní Domasla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Tlos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ÚSP Domečky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vězd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700417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Byst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4024544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S Frantiskovy Lazne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3965078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h Jireh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6939119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ianska 2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836253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-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8608945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or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-centrum Hodonín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řez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kus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93340608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 OAS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0213320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v. Terezie, P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695684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y s pečovatelskou službou F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4030573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8. 2. – 28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1236412"/>
          <a:ext cx="9684753" cy="418098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5698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IZONT - DOZP pro mentálně postižené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ČCE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nichov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kolik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Vrou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Krásná Líp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Srdce v dlaních Filip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Pyše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Nácho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a DZR Dřevčický Pa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ÁRA Třin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ynzvart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alka 2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pelska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7293931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3. – 17. 3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986199"/>
          <a:ext cx="9684753" cy="542413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508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iscentrum o.p.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BETANIE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 v České republice, z. 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P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ncentinum Šumpe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 Mendry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HRADAKM 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S As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esle Františka Malíka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hrada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S Litvínov Janov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Bojčenk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OSS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602175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lužeb pro seniory Kyjov,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089695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Jedov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6419949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Hladnov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7347064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Libice n. C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0565260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omov Arreta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04339379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LUKOV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432286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rajánek Jese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644818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roznetin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2619241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dlení v Kopřivnici - Domov NaNov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7471358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8. 3. – 31. 3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079D213B-AFD8-441E-95CD-54620E25AEB5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967151"/>
          <a:ext cx="9684753" cy="55473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6682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 Berounk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Svaté rodiny Příbra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Fénix Horoměř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orní Strop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Čtyřlíst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 sv. Pavla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Staroměstská 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á dílna Avízo s.r.o Zli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Ludgeř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Hradec nad Moravic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a CH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O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rtník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Nové Hrad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94602175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Anežky Luště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089695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ní stacionář Srbeč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6419949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, Drhovl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7347064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SS Chotělice 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10565260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omino Zavido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04339379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ostomice - Zátor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6432286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Ústí nad Labe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2619241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Velké Březn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8256375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ANIT - domov pro senior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9193873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tarý mlý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40232789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ď Hermes -CSS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5683218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kal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6954665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Sněd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3543285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centrum Pí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9459573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klidného stáří Pravětín Vimper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Břetislavov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3 S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 Erbenova, Hlinsk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1709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F8AA8311-83CF-40BE-9B08-408DCE2F85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9249595"/>
              </p:ext>
            </p:extLst>
          </p:nvPr>
        </p:nvGraphicFramePr>
        <p:xfrm>
          <a:off x="7361314" y="5543019"/>
          <a:ext cx="4556155" cy="866620"/>
        </p:xfrm>
        <a:graphic>
          <a:graphicData uri="http://schemas.openxmlformats.org/drawingml/2006/table">
            <a:tbl>
              <a:tblPr/>
              <a:tblGrid>
                <a:gridCol w="911231">
                  <a:extLst>
                    <a:ext uri="{9D8B030D-6E8A-4147-A177-3AD203B41FA5}">
                      <a16:colId xmlns:a16="http://schemas.microsoft.com/office/drawing/2014/main" val="3020856174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237825202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73601134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1947483592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668856520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2746649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062946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</a:t>
            </a:r>
            <a:endParaRPr lang="cs-CZ" sz="1200" b="1" dirty="0">
              <a:solidFill>
                <a:srgbClr val="C00000"/>
              </a:solidFill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Přehled za 11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5347409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3 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06152088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556501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4. – 31. 8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1026863"/>
          <a:ext cx="9684753" cy="513188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162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Dědina Opoč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ocentrum Domeček Hodon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Tovačov-JA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 Sedlec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ianska 3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P Žampa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Emauzy s.r.o Dobrá Voda u Českých Budějovi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, Čsl. armády 837/36 bcd, Krnov 794 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Žirafa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Pá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1253722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Zábře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0001264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U Pramene Lou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2372521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amaritán Ústí nad Lab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obylá nad Vidnavk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0850470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Dobět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91671982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Raspenava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89785268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ára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691704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P Máchova 14,P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7168677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Chroust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98555041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6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 Zahradách Zd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4493442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6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Velké Hamry , varianta alf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09912162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7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 Ostrava - Zukal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932772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7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Vlčí Pol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3543187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8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vitav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20554021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9. – 31. 10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3892388"/>
              </p:ext>
            </p:extLst>
          </p:nvPr>
        </p:nvGraphicFramePr>
        <p:xfrm>
          <a:off x="1372685" y="1026864"/>
          <a:ext cx="9684753" cy="506868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716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LUHAČOVICE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Hejnic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mo Chrudim, o.p.s - sociálně terapeutická díl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P3, Roháčova 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noj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Hrabyně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Jasm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BEN - EZER Český Těš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DOMOVHLUK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Pyše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ámek Břež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amenec, Slezská Ostra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433767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Rybníčku Žiž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18954418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Boskovice Mánes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1197993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Šlejnická Praha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2489360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-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6229209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Česká Kame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3174730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 péče Choce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953656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até rodiny Ulrychova Praha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0583088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bo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448820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zké domy s.r.o Lovos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1253722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Chrud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4475600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1. – 16. 1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202025"/>
              </p:ext>
            </p:extLst>
          </p:nvPr>
        </p:nvGraphicFramePr>
        <p:xfrm>
          <a:off x="1372685" y="1009673"/>
          <a:ext cx="9684753" cy="5238771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0600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Rožmitál p. Třemšín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DN Oblouková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lužeb pro seniory Kyjov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0478578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Libeň, Praha 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0480291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orýtko, příspěvková organiza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18100667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NA chráněné bydle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patie Chráněné bydle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SeniorCentrum Tel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IRI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r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  Zlosy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-komplex Lužec nad Vltav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SC Malá Čermná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omár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rý klíč o.p.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61807022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Naděje, Rybalkova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3492397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l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90337858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Naděje, K Prádelně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2817490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d Hrází Peč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60267598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Chod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80781992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iální služby Semily,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3846839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ČCE Sobot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8599973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55810615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á Sluneč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0218893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ědina Opoč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3454963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Reynk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9849747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AB18C71-1867-49C2-8565-4F6CE7E0ED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0537115"/>
              </p:ext>
            </p:extLst>
          </p:nvPr>
        </p:nvGraphicFramePr>
        <p:xfrm>
          <a:off x="8713426" y="911227"/>
          <a:ext cx="849674" cy="5586734"/>
        </p:xfrm>
        <a:graphic>
          <a:graphicData uri="http://schemas.openxmlformats.org/drawingml/2006/table">
            <a:tbl>
              <a:tblPr/>
              <a:tblGrid>
                <a:gridCol w="849674">
                  <a:extLst>
                    <a:ext uri="{9D8B030D-6E8A-4147-A177-3AD203B41FA5}">
                      <a16:colId xmlns:a16="http://schemas.microsoft.com/office/drawing/2014/main" val="4140285373"/>
                    </a:ext>
                  </a:extLst>
                </a:gridCol>
              </a:tblGrid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484843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851685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8376737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3910034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7447542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D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7955615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8756365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6268678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9084525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8282222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9621667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7271839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6001786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281525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417810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1784967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7265462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6513500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7330948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6702755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0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4277558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1687730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690824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4816243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6450188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1026179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3816508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2585025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2444908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Události řešené od 1. října 2020 – celá ČR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BDD20AF-BD82-42FA-8ABC-E95927D22E06}"/>
              </a:ext>
            </a:extLst>
          </p:cNvPr>
          <p:cNvSpPr txBox="1"/>
          <p:nvPr/>
        </p:nvSpPr>
        <p:spPr>
          <a:xfrm>
            <a:off x="1885951" y="6516527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2. 3. 2022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560C9FB-2949-4B26-B792-61AF25EF78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9251317"/>
              </p:ext>
            </p:extLst>
          </p:nvPr>
        </p:nvGraphicFramePr>
        <p:xfrm>
          <a:off x="1093233" y="695325"/>
          <a:ext cx="8958646" cy="5802630"/>
        </p:xfrm>
        <a:graphic>
          <a:graphicData uri="http://schemas.openxmlformats.org/drawingml/2006/table">
            <a:tbl>
              <a:tblPr/>
              <a:tblGrid>
                <a:gridCol w="3399790">
                  <a:extLst>
                    <a:ext uri="{9D8B030D-6E8A-4147-A177-3AD203B41FA5}">
                      <a16:colId xmlns:a16="http://schemas.microsoft.com/office/drawing/2014/main" val="203849754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582286152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33981781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71505390"/>
                    </a:ext>
                  </a:extLst>
                </a:gridCol>
              </a:tblGrid>
              <a:tr h="21842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 událost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akaže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událost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93877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4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0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736721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s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2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131732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ch služ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3 2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 0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3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1287213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5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300411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ýrobní záv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510886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ězn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537521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oviště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714489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é domovy/ústavy pro mladistvé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1173336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yt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4307753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ý a profesionální spor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1447061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tábo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977792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celář, úř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643755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Z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4204550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a profesionální umělecké sbo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7271889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nict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9737953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ci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6092428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ejna, ob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549064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lečenská akce / klu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7324214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vatba / pohř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8683674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ný výsky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2525124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čanská komunita/obe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2704925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jmové aktivit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7026929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kání známých / příbuz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0412420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společenské/rekreační/vzdělávací ak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3612133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9699426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5191631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v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8663673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írke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337081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týká se žádného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506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5527795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784CBF44-09C1-4104-896C-F04BC12F41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033361"/>
              </p:ext>
            </p:extLst>
          </p:nvPr>
        </p:nvGraphicFramePr>
        <p:xfrm>
          <a:off x="8704851" y="1092199"/>
          <a:ext cx="905873" cy="5424328"/>
        </p:xfrm>
        <a:graphic>
          <a:graphicData uri="http://schemas.openxmlformats.org/drawingml/2006/table">
            <a:tbl>
              <a:tblPr/>
              <a:tblGrid>
                <a:gridCol w="905873">
                  <a:extLst>
                    <a:ext uri="{9D8B030D-6E8A-4147-A177-3AD203B41FA5}">
                      <a16:colId xmlns:a16="http://schemas.microsoft.com/office/drawing/2014/main" val="1283906979"/>
                    </a:ext>
                  </a:extLst>
                </a:gridCol>
              </a:tblGrid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5623029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1052556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26677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713325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439781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6087458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5602870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094580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0455712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719435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5061481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9755027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7030080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3557782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6361083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8496049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531376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2398803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7405786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5569185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9365573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2256862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319196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8599227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8282671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9348161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9115248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2982412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Události řešené od 1. ledna 2021 – celá ČR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BDD20AF-BD82-42FA-8ABC-E95927D22E06}"/>
              </a:ext>
            </a:extLst>
          </p:cNvPr>
          <p:cNvSpPr txBox="1"/>
          <p:nvPr/>
        </p:nvSpPr>
        <p:spPr>
          <a:xfrm>
            <a:off x="1885951" y="6516527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2. 3. 2022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68AE7B0F-05ED-4C12-89D3-29AC695716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840539"/>
              </p:ext>
            </p:extLst>
          </p:nvPr>
        </p:nvGraphicFramePr>
        <p:xfrm>
          <a:off x="1104900" y="660914"/>
          <a:ext cx="8958646" cy="5856009"/>
        </p:xfrm>
        <a:graphic>
          <a:graphicData uri="http://schemas.openxmlformats.org/drawingml/2006/table">
            <a:tbl>
              <a:tblPr/>
              <a:tblGrid>
                <a:gridCol w="3399790">
                  <a:extLst>
                    <a:ext uri="{9D8B030D-6E8A-4147-A177-3AD203B41FA5}">
                      <a16:colId xmlns:a16="http://schemas.microsoft.com/office/drawing/2014/main" val="203849754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582286152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33981781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71505390"/>
                    </a:ext>
                  </a:extLst>
                </a:gridCol>
              </a:tblGrid>
              <a:tr h="43584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 událost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akažených</a:t>
                      </a:r>
                    </a:p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ktuálně řešené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událostí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ktuálně řešené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93877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920 (2 21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409 (9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736721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s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058 (6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80 (1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131732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ch služ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0 587 (1 106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475 (4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1287213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811 (88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 (19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300411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ýrobní záv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57 (1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510886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ězn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74 (118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537521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oviště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46 (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 (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714489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é domovy/ústavy pro mladistvé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9 (8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1173336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yt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9 (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4307753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tábo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1447061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ý a profesionální spor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977792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celář, úř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643755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nict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1997362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ejna, ob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6883259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lečenská akce / klu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4915642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ný výsky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4883858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čanská komunita/obe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3570336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kání známých / příbuz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8371184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Z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0766749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společenské/rekreační/vzdělávací ak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3912153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9314247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a profesionální umělecké sbo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5817810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vatba / pohř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3144375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ci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5281701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írke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7216773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v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6318133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týká se žádného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151448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506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61999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71EB03AE-4054-44F7-9254-79404469E2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6827552"/>
              </p:ext>
            </p:extLst>
          </p:nvPr>
        </p:nvGraphicFramePr>
        <p:xfrm>
          <a:off x="7362824" y="5543019"/>
          <a:ext cx="4554645" cy="874168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244475726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4015643702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4137936007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67328475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886359018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4569438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178867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</a:t>
            </a:r>
            <a:endParaRPr lang="cs-CZ" sz="1200" b="1" dirty="0">
              <a:solidFill>
                <a:srgbClr val="C00000"/>
              </a:solidFill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Přehled za 12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3791593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34927063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642447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48EACD34-87EE-4F3C-A456-66279421AF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4145329"/>
              </p:ext>
            </p:extLst>
          </p:nvPr>
        </p:nvGraphicFramePr>
        <p:xfrm>
          <a:off x="7349382" y="5543020"/>
          <a:ext cx="4568088" cy="853440"/>
        </p:xfrm>
        <a:graphic>
          <a:graphicData uri="http://schemas.openxmlformats.org/drawingml/2006/table">
            <a:tbl>
              <a:tblPr/>
              <a:tblGrid>
                <a:gridCol w="761348">
                  <a:extLst>
                    <a:ext uri="{9D8B030D-6E8A-4147-A177-3AD203B41FA5}">
                      <a16:colId xmlns:a16="http://schemas.microsoft.com/office/drawing/2014/main" val="188258750"/>
                    </a:ext>
                  </a:extLst>
                </a:gridCol>
                <a:gridCol w="761348">
                  <a:extLst>
                    <a:ext uri="{9D8B030D-6E8A-4147-A177-3AD203B41FA5}">
                      <a16:colId xmlns:a16="http://schemas.microsoft.com/office/drawing/2014/main" val="2766418493"/>
                    </a:ext>
                  </a:extLst>
                </a:gridCol>
                <a:gridCol w="761348">
                  <a:extLst>
                    <a:ext uri="{9D8B030D-6E8A-4147-A177-3AD203B41FA5}">
                      <a16:colId xmlns:a16="http://schemas.microsoft.com/office/drawing/2014/main" val="1396325399"/>
                    </a:ext>
                  </a:extLst>
                </a:gridCol>
                <a:gridCol w="761348">
                  <a:extLst>
                    <a:ext uri="{9D8B030D-6E8A-4147-A177-3AD203B41FA5}">
                      <a16:colId xmlns:a16="http://schemas.microsoft.com/office/drawing/2014/main" val="4103809656"/>
                    </a:ext>
                  </a:extLst>
                </a:gridCol>
                <a:gridCol w="761348">
                  <a:extLst>
                    <a:ext uri="{9D8B030D-6E8A-4147-A177-3AD203B41FA5}">
                      <a16:colId xmlns:a16="http://schemas.microsoft.com/office/drawing/2014/main" val="2389849566"/>
                    </a:ext>
                  </a:extLst>
                </a:gridCol>
                <a:gridCol w="761348">
                  <a:extLst>
                    <a:ext uri="{9D8B030D-6E8A-4147-A177-3AD203B41FA5}">
                      <a16:colId xmlns:a16="http://schemas.microsoft.com/office/drawing/2014/main" val="1406326112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2026830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76604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576879"/>
              </p:ext>
            </p:extLst>
          </p:nvPr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6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4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1003542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1/2022 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FC5EFE55-EE2D-476E-94E8-91E4F58258C1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</a:t>
            </a:r>
            <a:endParaRPr lang="cs-CZ" sz="12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76195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84198634-9DE1-4ABE-ABE2-EBA382E34C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5144698"/>
              </p:ext>
            </p:extLst>
          </p:nvPr>
        </p:nvGraphicFramePr>
        <p:xfrm>
          <a:off x="7362822" y="5556199"/>
          <a:ext cx="4554645" cy="853440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41532877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1371503168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35822610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1822866413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166910644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82100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7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3410386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2/2022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FC5EFE55-EE2D-476E-94E8-91E4F58258C1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</a:t>
            </a:r>
            <a:endParaRPr lang="cs-CZ" sz="1200" b="1" dirty="0">
              <a:solidFill>
                <a:srgbClr val="C00000"/>
              </a:solidFill>
            </a:endParaRP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2CB9E723-90D4-4DF3-A4C1-04A567932C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194984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4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4 (2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3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19" name="Graf 12">
            <a:extLst>
              <a:ext uri="{FF2B5EF4-FFF2-40B4-BE49-F238E27FC236}">
                <a16:creationId xmlns:a16="http://schemas.microsoft.com/office/drawing/2014/main" id="{69D9846B-2D40-4943-BE29-D639CD1CADF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27847789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0" name="Obdélník 13">
            <a:extLst>
              <a:ext uri="{FF2B5EF4-FFF2-40B4-BE49-F238E27FC236}">
                <a16:creationId xmlns:a16="http://schemas.microsoft.com/office/drawing/2014/main" id="{06C48139-6AD8-42FC-87EB-B78B92AFE7B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1" name="Tabulka 14">
            <a:extLst>
              <a:ext uri="{FF2B5EF4-FFF2-40B4-BE49-F238E27FC236}">
                <a16:creationId xmlns:a16="http://schemas.microsoft.com/office/drawing/2014/main" id="{3F51155A-4EFC-474B-BC5A-8553005EE892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666371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  <p:tag name="SLIDEFAB_RESIZEMOD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8859</TotalTime>
  <Words>17280</Words>
  <Application>Microsoft Office PowerPoint</Application>
  <PresentationFormat>Širokoúhlá obrazovka</PresentationFormat>
  <Paragraphs>7397</Paragraphs>
  <Slides>64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64</vt:i4>
      </vt:variant>
    </vt:vector>
  </HeadingPairs>
  <TitlesOfParts>
    <vt:vector size="68" baseType="lpstr">
      <vt:lpstr>Arial</vt:lpstr>
      <vt:lpstr>Calibri</vt:lpstr>
      <vt:lpstr>Roboto</vt:lpstr>
      <vt:lpstr>Motiv Office</vt:lpstr>
      <vt:lpstr>Datová a informační základna  pro management pandemie COVID-19</vt:lpstr>
      <vt:lpstr>Úvod – zdroje dat a koncepce analýz </vt:lpstr>
      <vt:lpstr>Prezentace aplikace PowerPoint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Datová a informační základna  pro management pandemie COVID-19</vt:lpstr>
      <vt:lpstr>Prezentace aplikace PowerPoint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Počet nově pozitivních klientů v sociálních službách</vt:lpstr>
      <vt:lpstr>Počet nově pozitivních pracovníků v sociálních službách</vt:lpstr>
      <vt:lpstr>Počet nově pozitivních osob v sociálních službách</vt:lpstr>
      <vt:lpstr>Počet nově pozitivních pracovníků a klientů v sociálních službách</vt:lpstr>
      <vt:lpstr>Počet zemřelých klientů v sociálních službách</vt:lpstr>
      <vt:lpstr>Počet zemřelých klientů a pracovníků v sociálních službách</vt:lpstr>
      <vt:lpstr>Klienti a pracovníci v sociálních službách vyžadující hospitalizaci z důvodu COVID-19</vt:lpstr>
      <vt:lpstr>Klienti a pracovníci v sociálních službách s těžkým průběhem nemoci</vt:lpstr>
      <vt:lpstr>Datová a informační základna  pro management pandemie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Události řešené od 1. října 2020 – celá ČR</vt:lpstr>
      <vt:lpstr>Události řešené od 1. ledna 2021 – celá Č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Mužík Jan RNDr. Ph.D.</cp:lastModifiedBy>
  <cp:revision>641</cp:revision>
  <dcterms:created xsi:type="dcterms:W3CDTF">2020-11-14T10:09:00Z</dcterms:created>
  <dcterms:modified xsi:type="dcterms:W3CDTF">2022-03-12T19:12:06Z</dcterms:modified>
</cp:coreProperties>
</file>